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5"/>
  </p:notesMasterIdLst>
  <p:sldIdLst>
    <p:sldId id="256" r:id="rId5"/>
    <p:sldId id="279" r:id="rId6"/>
    <p:sldId id="259" r:id="rId7"/>
    <p:sldId id="264" r:id="rId8"/>
    <p:sldId id="281" r:id="rId9"/>
    <p:sldId id="272" r:id="rId10"/>
    <p:sldId id="274" r:id="rId11"/>
    <p:sldId id="282" r:id="rId12"/>
    <p:sldId id="262" r:id="rId13"/>
    <p:sldId id="267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 Ross" initials="MR" lastIdx="2" clrIdx="0">
    <p:extLst>
      <p:ext uri="{19B8F6BF-5375-455C-9EA6-DF929625EA0E}">
        <p15:presenceInfo xmlns:p15="http://schemas.microsoft.com/office/powerpoint/2012/main" userId="S::martin.ross@revealgroup.com::ea0ffabd-6e24-478b-b98a-da5441cb6906" providerId="AD"/>
      </p:ext>
    </p:extLst>
  </p:cmAuthor>
  <p:cmAuthor id="2" name="Aaron Phillips" initials="AP" lastIdx="4" clrIdx="1">
    <p:extLst>
      <p:ext uri="{19B8F6BF-5375-455C-9EA6-DF929625EA0E}">
        <p15:presenceInfo xmlns:p15="http://schemas.microsoft.com/office/powerpoint/2012/main" userId="S::aaron.phillips@revealgroup.com::32c2824c-cf66-481e-8ea0-c7c34b9b613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F2F2F2"/>
    <a:srgbClr val="006399"/>
    <a:srgbClr val="C5FFE2"/>
    <a:srgbClr val="B5ED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710B66-5E36-4C6D-B5FF-AD93DF07E8FB}" v="1" dt="2020-12-01T19:48:09.2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74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aron Phillips" userId="32c2824c-cf66-481e-8ea0-c7c34b9b613f" providerId="ADAL" clId="{14159F3E-7865-4359-AF57-D2DB1F1D68AF}"/>
    <pc:docChg chg="delSld">
      <pc:chgData name="Aaron Phillips" userId="32c2824c-cf66-481e-8ea0-c7c34b9b613f" providerId="ADAL" clId="{14159F3E-7865-4359-AF57-D2DB1F1D68AF}" dt="2020-07-30T12:57:50.469" v="0" actId="47"/>
      <pc:docMkLst>
        <pc:docMk/>
      </pc:docMkLst>
      <pc:sldChg chg="del">
        <pc:chgData name="Aaron Phillips" userId="32c2824c-cf66-481e-8ea0-c7c34b9b613f" providerId="ADAL" clId="{14159F3E-7865-4359-AF57-D2DB1F1D68AF}" dt="2020-07-30T12:57:50.469" v="0" actId="47"/>
        <pc:sldMkLst>
          <pc:docMk/>
          <pc:sldMk cId="863348944" sldId="284"/>
        </pc:sldMkLst>
      </pc:sldChg>
    </pc:docChg>
  </pc:docChgLst>
  <pc:docChgLst>
    <pc:chgData name="Aaron Phillips" userId="32c2824c-cf66-481e-8ea0-c7c34b9b613f" providerId="ADAL" clId="{03875E5E-9A6C-4183-B970-10B8EA6783FA}"/>
    <pc:docChg chg="custSel modSld">
      <pc:chgData name="Aaron Phillips" userId="32c2824c-cf66-481e-8ea0-c7c34b9b613f" providerId="ADAL" clId="{03875E5E-9A6C-4183-B970-10B8EA6783FA}" dt="2020-07-15T18:55:29.729" v="0" actId="478"/>
      <pc:docMkLst>
        <pc:docMk/>
      </pc:docMkLst>
      <pc:sldChg chg="delSp mod">
        <pc:chgData name="Aaron Phillips" userId="32c2824c-cf66-481e-8ea0-c7c34b9b613f" providerId="ADAL" clId="{03875E5E-9A6C-4183-B970-10B8EA6783FA}" dt="2020-07-15T18:55:29.729" v="0" actId="478"/>
        <pc:sldMkLst>
          <pc:docMk/>
          <pc:sldMk cId="2778361607" sldId="279"/>
        </pc:sldMkLst>
        <pc:spChg chg="del">
          <ac:chgData name="Aaron Phillips" userId="32c2824c-cf66-481e-8ea0-c7c34b9b613f" providerId="ADAL" clId="{03875E5E-9A6C-4183-B970-10B8EA6783FA}" dt="2020-07-15T18:55:29.729" v="0" actId="478"/>
          <ac:spMkLst>
            <pc:docMk/>
            <pc:sldMk cId="2778361607" sldId="279"/>
            <ac:spMk id="5" creationId="{45E0F4B0-E783-4D19-8F18-9EA533DBC911}"/>
          </ac:spMkLst>
        </pc:spChg>
      </pc:sldChg>
    </pc:docChg>
  </pc:docChgLst>
  <pc:docChgLst>
    <pc:chgData name="Enkel Doci" userId="447ef3aa-f73c-47e7-8002-dd2154e375e6" providerId="ADAL" clId="{81710B66-5E36-4C6D-B5FF-AD93DF07E8FB}"/>
    <pc:docChg chg="custSel modSld">
      <pc:chgData name="Enkel Doci" userId="447ef3aa-f73c-47e7-8002-dd2154e375e6" providerId="ADAL" clId="{81710B66-5E36-4C6D-B5FF-AD93DF07E8FB}" dt="2020-12-01T19:48:12.025" v="1" actId="478"/>
      <pc:docMkLst>
        <pc:docMk/>
      </pc:docMkLst>
      <pc:sldChg chg="delSp modSp mod">
        <pc:chgData name="Enkel Doci" userId="447ef3aa-f73c-47e7-8002-dd2154e375e6" providerId="ADAL" clId="{81710B66-5E36-4C6D-B5FF-AD93DF07E8FB}" dt="2020-12-01T19:48:12.025" v="1" actId="478"/>
        <pc:sldMkLst>
          <pc:docMk/>
          <pc:sldMk cId="109857222" sldId="256"/>
        </pc:sldMkLst>
        <pc:spChg chg="mod">
          <ac:chgData name="Enkel Doci" userId="447ef3aa-f73c-47e7-8002-dd2154e375e6" providerId="ADAL" clId="{81710B66-5E36-4C6D-B5FF-AD93DF07E8FB}" dt="2020-12-01T19:48:09.222" v="0"/>
          <ac:spMkLst>
            <pc:docMk/>
            <pc:sldMk cId="109857222" sldId="256"/>
            <ac:spMk id="4" creationId="{2CE66A7F-853A-46B2-8102-21446A75614D}"/>
          </ac:spMkLst>
        </pc:spChg>
        <pc:spChg chg="mod">
          <ac:chgData name="Enkel Doci" userId="447ef3aa-f73c-47e7-8002-dd2154e375e6" providerId="ADAL" clId="{81710B66-5E36-4C6D-B5FF-AD93DF07E8FB}" dt="2020-12-01T19:48:09.222" v="0"/>
          <ac:spMkLst>
            <pc:docMk/>
            <pc:sldMk cId="109857222" sldId="256"/>
            <ac:spMk id="5" creationId="{6F5B3BD3-0B78-4004-9263-E5CCA2F1A0E1}"/>
          </ac:spMkLst>
        </pc:spChg>
        <pc:spChg chg="del mod">
          <ac:chgData name="Enkel Doci" userId="447ef3aa-f73c-47e7-8002-dd2154e375e6" providerId="ADAL" clId="{81710B66-5E36-4C6D-B5FF-AD93DF07E8FB}" dt="2020-12-01T19:48:12.025" v="1" actId="478"/>
          <ac:spMkLst>
            <pc:docMk/>
            <pc:sldMk cId="109857222" sldId="256"/>
            <ac:spMk id="6" creationId="{6B981C93-1D3E-4980-8534-BEAF35F3E783}"/>
          </ac:spMkLst>
        </pc:spChg>
      </pc:sldChg>
    </pc:docChg>
  </pc:docChgLst>
  <pc:docChgLst>
    <pc:chgData name="Aaron Phillips" userId="32c2824c-cf66-481e-8ea0-c7c34b9b613f" providerId="ADAL" clId="{00F31AC4-1965-48BA-9FB8-CB307B127CFD}"/>
    <pc:docChg chg="undo custSel addSld delSld modSld sldOrd">
      <pc:chgData name="Aaron Phillips" userId="32c2824c-cf66-481e-8ea0-c7c34b9b613f" providerId="ADAL" clId="{00F31AC4-1965-48BA-9FB8-CB307B127CFD}" dt="2020-06-19T15:59:08.754" v="449" actId="1076"/>
      <pc:docMkLst>
        <pc:docMk/>
      </pc:docMkLst>
      <pc:sldChg chg="addSp delSp modSp mod">
        <pc:chgData name="Aaron Phillips" userId="32c2824c-cf66-481e-8ea0-c7c34b9b613f" providerId="ADAL" clId="{00F31AC4-1965-48BA-9FB8-CB307B127CFD}" dt="2020-06-19T15:58:30.605" v="374"/>
        <pc:sldMkLst>
          <pc:docMk/>
          <pc:sldMk cId="2054136083" sldId="259"/>
        </pc:sldMkLst>
        <pc:spChg chg="mod">
          <ac:chgData name="Aaron Phillips" userId="32c2824c-cf66-481e-8ea0-c7c34b9b613f" providerId="ADAL" clId="{00F31AC4-1965-48BA-9FB8-CB307B127CFD}" dt="2020-06-19T15:58:30.605" v="374"/>
          <ac:spMkLst>
            <pc:docMk/>
            <pc:sldMk cId="2054136083" sldId="259"/>
            <ac:spMk id="35" creationId="{E25955D2-7DB1-4A84-9733-3169A5BFAA92}"/>
          </ac:spMkLst>
        </pc:spChg>
        <pc:spChg chg="mod">
          <ac:chgData name="Aaron Phillips" userId="32c2824c-cf66-481e-8ea0-c7c34b9b613f" providerId="ADAL" clId="{00F31AC4-1965-48BA-9FB8-CB307B127CFD}" dt="2020-06-19T15:58:30.605" v="374"/>
          <ac:spMkLst>
            <pc:docMk/>
            <pc:sldMk cId="2054136083" sldId="259"/>
            <ac:spMk id="36" creationId="{D0930FED-D440-44CF-A902-E0424DF7162F}"/>
          </ac:spMkLst>
        </pc:spChg>
        <pc:spChg chg="mod">
          <ac:chgData name="Aaron Phillips" userId="32c2824c-cf66-481e-8ea0-c7c34b9b613f" providerId="ADAL" clId="{00F31AC4-1965-48BA-9FB8-CB307B127CFD}" dt="2020-06-19T15:58:30.605" v="374"/>
          <ac:spMkLst>
            <pc:docMk/>
            <pc:sldMk cId="2054136083" sldId="259"/>
            <ac:spMk id="37" creationId="{8CEC7E6B-70ED-42FF-B6CF-DFC19DA9930C}"/>
          </ac:spMkLst>
        </pc:spChg>
        <pc:spChg chg="mod">
          <ac:chgData name="Aaron Phillips" userId="32c2824c-cf66-481e-8ea0-c7c34b9b613f" providerId="ADAL" clId="{00F31AC4-1965-48BA-9FB8-CB307B127CFD}" dt="2020-06-19T15:58:30.605" v="374"/>
          <ac:spMkLst>
            <pc:docMk/>
            <pc:sldMk cId="2054136083" sldId="259"/>
            <ac:spMk id="38" creationId="{599D2DB0-7EC2-48F8-8E89-F1D548C1B47C}"/>
          </ac:spMkLst>
        </pc:spChg>
        <pc:spChg chg="mod">
          <ac:chgData name="Aaron Phillips" userId="32c2824c-cf66-481e-8ea0-c7c34b9b613f" providerId="ADAL" clId="{00F31AC4-1965-48BA-9FB8-CB307B127CFD}" dt="2020-06-19T15:58:30.605" v="374"/>
          <ac:spMkLst>
            <pc:docMk/>
            <pc:sldMk cId="2054136083" sldId="259"/>
            <ac:spMk id="39" creationId="{986780BD-1F59-4A6F-93E3-099D08902C26}"/>
          </ac:spMkLst>
        </pc:spChg>
        <pc:spChg chg="del">
          <ac:chgData name="Aaron Phillips" userId="32c2824c-cf66-481e-8ea0-c7c34b9b613f" providerId="ADAL" clId="{00F31AC4-1965-48BA-9FB8-CB307B127CFD}" dt="2020-06-19T15:58:30.374" v="373" actId="478"/>
          <ac:spMkLst>
            <pc:docMk/>
            <pc:sldMk cId="2054136083" sldId="259"/>
            <ac:spMk id="50" creationId="{F3F82B29-7EF7-4BC1-8147-0458B1B7BD07}"/>
          </ac:spMkLst>
        </pc:spChg>
        <pc:spChg chg="del">
          <ac:chgData name="Aaron Phillips" userId="32c2824c-cf66-481e-8ea0-c7c34b9b613f" providerId="ADAL" clId="{00F31AC4-1965-48BA-9FB8-CB307B127CFD}" dt="2020-06-19T15:58:30.374" v="373" actId="478"/>
          <ac:spMkLst>
            <pc:docMk/>
            <pc:sldMk cId="2054136083" sldId="259"/>
            <ac:spMk id="51" creationId="{7E828555-01A7-4CE7-A850-9755001DAE65}"/>
          </ac:spMkLst>
        </pc:spChg>
        <pc:spChg chg="del">
          <ac:chgData name="Aaron Phillips" userId="32c2824c-cf66-481e-8ea0-c7c34b9b613f" providerId="ADAL" clId="{00F31AC4-1965-48BA-9FB8-CB307B127CFD}" dt="2020-06-19T15:58:30.374" v="373" actId="478"/>
          <ac:spMkLst>
            <pc:docMk/>
            <pc:sldMk cId="2054136083" sldId="259"/>
            <ac:spMk id="52" creationId="{C3AB55E8-6BF6-4D42-A18B-0BF7F5A1AA80}"/>
          </ac:spMkLst>
        </pc:spChg>
        <pc:spChg chg="del">
          <ac:chgData name="Aaron Phillips" userId="32c2824c-cf66-481e-8ea0-c7c34b9b613f" providerId="ADAL" clId="{00F31AC4-1965-48BA-9FB8-CB307B127CFD}" dt="2020-06-19T15:58:30.374" v="373" actId="478"/>
          <ac:spMkLst>
            <pc:docMk/>
            <pc:sldMk cId="2054136083" sldId="259"/>
            <ac:spMk id="53" creationId="{DE97A3C0-DF45-481B-B3BC-A471DC46F6BD}"/>
          </ac:spMkLst>
        </pc:spChg>
        <pc:spChg chg="del">
          <ac:chgData name="Aaron Phillips" userId="32c2824c-cf66-481e-8ea0-c7c34b9b613f" providerId="ADAL" clId="{00F31AC4-1965-48BA-9FB8-CB307B127CFD}" dt="2020-06-19T15:58:30.374" v="373" actId="478"/>
          <ac:spMkLst>
            <pc:docMk/>
            <pc:sldMk cId="2054136083" sldId="259"/>
            <ac:spMk id="54" creationId="{F3076829-3E9B-4D71-BE58-AF193F5039A7}"/>
          </ac:spMkLst>
        </pc:spChg>
        <pc:grpChg chg="add mod">
          <ac:chgData name="Aaron Phillips" userId="32c2824c-cf66-481e-8ea0-c7c34b9b613f" providerId="ADAL" clId="{00F31AC4-1965-48BA-9FB8-CB307B127CFD}" dt="2020-06-19T15:58:30.605" v="374"/>
          <ac:grpSpMkLst>
            <pc:docMk/>
            <pc:sldMk cId="2054136083" sldId="259"/>
            <ac:grpSpMk id="34" creationId="{C075AB89-57B7-4747-9A26-B445CBDD930C}"/>
          </ac:grpSpMkLst>
        </pc:grpChg>
      </pc:sldChg>
      <pc:sldChg chg="addSp delSp modSp mod">
        <pc:chgData name="Aaron Phillips" userId="32c2824c-cf66-481e-8ea0-c7c34b9b613f" providerId="ADAL" clId="{00F31AC4-1965-48BA-9FB8-CB307B127CFD}" dt="2020-06-19T15:58:24.724" v="372" actId="1076"/>
        <pc:sldMkLst>
          <pc:docMk/>
          <pc:sldMk cId="3768348879" sldId="264"/>
        </pc:sldMkLst>
        <pc:spChg chg="mod">
          <ac:chgData name="Aaron Phillips" userId="32c2824c-cf66-481e-8ea0-c7c34b9b613f" providerId="ADAL" clId="{00F31AC4-1965-48BA-9FB8-CB307B127CFD}" dt="2020-06-19T15:58:15.526" v="370" actId="108"/>
          <ac:spMkLst>
            <pc:docMk/>
            <pc:sldMk cId="3768348879" sldId="264"/>
            <ac:spMk id="22" creationId="{0863FFBE-5910-4715-BD0B-1CC1EFA6171F}"/>
          </ac:spMkLst>
        </pc:spChg>
        <pc:spChg chg="mod">
          <ac:chgData name="Aaron Phillips" userId="32c2824c-cf66-481e-8ea0-c7c34b9b613f" providerId="ADAL" clId="{00F31AC4-1965-48BA-9FB8-CB307B127CFD}" dt="2020-06-19T15:58:11.279" v="369"/>
          <ac:spMkLst>
            <pc:docMk/>
            <pc:sldMk cId="3768348879" sldId="264"/>
            <ac:spMk id="23" creationId="{29F01573-DD2A-43E3-BFD6-4F01ACE10924}"/>
          </ac:spMkLst>
        </pc:spChg>
        <pc:spChg chg="mod">
          <ac:chgData name="Aaron Phillips" userId="32c2824c-cf66-481e-8ea0-c7c34b9b613f" providerId="ADAL" clId="{00F31AC4-1965-48BA-9FB8-CB307B127CFD}" dt="2020-06-19T15:58:11.279" v="369"/>
          <ac:spMkLst>
            <pc:docMk/>
            <pc:sldMk cId="3768348879" sldId="264"/>
            <ac:spMk id="24" creationId="{534D9F46-FDF1-4C7A-9D15-6A6405B4461D}"/>
          </ac:spMkLst>
        </pc:spChg>
        <pc:spChg chg="mod">
          <ac:chgData name="Aaron Phillips" userId="32c2824c-cf66-481e-8ea0-c7c34b9b613f" providerId="ADAL" clId="{00F31AC4-1965-48BA-9FB8-CB307B127CFD}" dt="2020-06-19T15:58:11.279" v="369"/>
          <ac:spMkLst>
            <pc:docMk/>
            <pc:sldMk cId="3768348879" sldId="264"/>
            <ac:spMk id="25" creationId="{8E2D54EA-BE2D-41CB-B153-EB760DBC3A3D}"/>
          </ac:spMkLst>
        </pc:spChg>
        <pc:spChg chg="mod">
          <ac:chgData name="Aaron Phillips" userId="32c2824c-cf66-481e-8ea0-c7c34b9b613f" providerId="ADAL" clId="{00F31AC4-1965-48BA-9FB8-CB307B127CFD}" dt="2020-06-19T15:58:22.650" v="371" actId="108"/>
          <ac:spMkLst>
            <pc:docMk/>
            <pc:sldMk cId="3768348879" sldId="264"/>
            <ac:spMk id="26" creationId="{28228EA9-C464-4970-91E9-590824148684}"/>
          </ac:spMkLst>
        </pc:spChg>
        <pc:spChg chg="del">
          <ac:chgData name="Aaron Phillips" userId="32c2824c-cf66-481e-8ea0-c7c34b9b613f" providerId="ADAL" clId="{00F31AC4-1965-48BA-9FB8-CB307B127CFD}" dt="2020-06-19T15:58:10.592" v="368" actId="478"/>
          <ac:spMkLst>
            <pc:docMk/>
            <pc:sldMk cId="3768348879" sldId="264"/>
            <ac:spMk id="32" creationId="{6E117D4C-FC03-40FB-9713-272773010722}"/>
          </ac:spMkLst>
        </pc:spChg>
        <pc:spChg chg="del">
          <ac:chgData name="Aaron Phillips" userId="32c2824c-cf66-481e-8ea0-c7c34b9b613f" providerId="ADAL" clId="{00F31AC4-1965-48BA-9FB8-CB307B127CFD}" dt="2020-06-19T15:58:10.592" v="368" actId="478"/>
          <ac:spMkLst>
            <pc:docMk/>
            <pc:sldMk cId="3768348879" sldId="264"/>
            <ac:spMk id="33" creationId="{7A1F191E-24B2-4628-B2D0-13D56046CF77}"/>
          </ac:spMkLst>
        </pc:spChg>
        <pc:spChg chg="del">
          <ac:chgData name="Aaron Phillips" userId="32c2824c-cf66-481e-8ea0-c7c34b9b613f" providerId="ADAL" clId="{00F31AC4-1965-48BA-9FB8-CB307B127CFD}" dt="2020-06-19T15:58:10.592" v="368" actId="478"/>
          <ac:spMkLst>
            <pc:docMk/>
            <pc:sldMk cId="3768348879" sldId="264"/>
            <ac:spMk id="34" creationId="{0A163B5E-968B-4840-A863-563C76F9403D}"/>
          </ac:spMkLst>
        </pc:spChg>
        <pc:spChg chg="del">
          <ac:chgData name="Aaron Phillips" userId="32c2824c-cf66-481e-8ea0-c7c34b9b613f" providerId="ADAL" clId="{00F31AC4-1965-48BA-9FB8-CB307B127CFD}" dt="2020-06-19T15:58:10.592" v="368" actId="478"/>
          <ac:spMkLst>
            <pc:docMk/>
            <pc:sldMk cId="3768348879" sldId="264"/>
            <ac:spMk id="35" creationId="{3F215FA2-3234-4592-B5BA-2BE5DDA2C5E4}"/>
          </ac:spMkLst>
        </pc:spChg>
        <pc:spChg chg="del">
          <ac:chgData name="Aaron Phillips" userId="32c2824c-cf66-481e-8ea0-c7c34b9b613f" providerId="ADAL" clId="{00F31AC4-1965-48BA-9FB8-CB307B127CFD}" dt="2020-06-19T15:58:10.592" v="368" actId="478"/>
          <ac:spMkLst>
            <pc:docMk/>
            <pc:sldMk cId="3768348879" sldId="264"/>
            <ac:spMk id="36" creationId="{7B034131-B8F2-41AD-A8AE-18EC749C9977}"/>
          </ac:spMkLst>
        </pc:spChg>
        <pc:grpChg chg="add mod">
          <ac:chgData name="Aaron Phillips" userId="32c2824c-cf66-481e-8ea0-c7c34b9b613f" providerId="ADAL" clId="{00F31AC4-1965-48BA-9FB8-CB307B127CFD}" dt="2020-06-19T15:58:24.724" v="372" actId="1076"/>
          <ac:grpSpMkLst>
            <pc:docMk/>
            <pc:sldMk cId="3768348879" sldId="264"/>
            <ac:grpSpMk id="21" creationId="{FDDF9CDC-8804-4F13-95A0-7F882A4D391E}"/>
          </ac:grpSpMkLst>
        </pc:grpChg>
      </pc:sldChg>
      <pc:sldChg chg="addSp delSp modSp mod">
        <pc:chgData name="Aaron Phillips" userId="32c2824c-cf66-481e-8ea0-c7c34b9b613f" providerId="ADAL" clId="{00F31AC4-1965-48BA-9FB8-CB307B127CFD}" dt="2020-06-19T15:56:26.792" v="348" actId="207"/>
        <pc:sldMkLst>
          <pc:docMk/>
          <pc:sldMk cId="2462466605" sldId="267"/>
        </pc:sldMkLst>
        <pc:spChg chg="mod">
          <ac:chgData name="Aaron Phillips" userId="32c2824c-cf66-481e-8ea0-c7c34b9b613f" providerId="ADAL" clId="{00F31AC4-1965-48BA-9FB8-CB307B127CFD}" dt="2020-06-19T15:56:17.287" v="346"/>
          <ac:spMkLst>
            <pc:docMk/>
            <pc:sldMk cId="2462466605" sldId="267"/>
            <ac:spMk id="12" creationId="{6C47260A-9E51-4571-9248-BDE110A8BA16}"/>
          </ac:spMkLst>
        </pc:spChg>
        <pc:spChg chg="del">
          <ac:chgData name="Aaron Phillips" userId="32c2824c-cf66-481e-8ea0-c7c34b9b613f" providerId="ADAL" clId="{00F31AC4-1965-48BA-9FB8-CB307B127CFD}" dt="2020-06-19T15:56:16.598" v="345" actId="478"/>
          <ac:spMkLst>
            <pc:docMk/>
            <pc:sldMk cId="2462466605" sldId="267"/>
            <ac:spMk id="13" creationId="{D11EF610-3F4F-42B2-B249-BFA6824B4BCF}"/>
          </ac:spMkLst>
        </pc:spChg>
        <pc:spChg chg="del">
          <ac:chgData name="Aaron Phillips" userId="32c2824c-cf66-481e-8ea0-c7c34b9b613f" providerId="ADAL" clId="{00F31AC4-1965-48BA-9FB8-CB307B127CFD}" dt="2020-06-19T15:56:16.598" v="345" actId="478"/>
          <ac:spMkLst>
            <pc:docMk/>
            <pc:sldMk cId="2462466605" sldId="267"/>
            <ac:spMk id="14" creationId="{5F09AC40-252E-4AD0-B3B1-C40F875659FD}"/>
          </ac:spMkLst>
        </pc:spChg>
        <pc:spChg chg="del">
          <ac:chgData name="Aaron Phillips" userId="32c2824c-cf66-481e-8ea0-c7c34b9b613f" providerId="ADAL" clId="{00F31AC4-1965-48BA-9FB8-CB307B127CFD}" dt="2020-06-19T15:56:16.598" v="345" actId="478"/>
          <ac:spMkLst>
            <pc:docMk/>
            <pc:sldMk cId="2462466605" sldId="267"/>
            <ac:spMk id="15" creationId="{9553E9F5-25DD-403C-9E68-832CEA2A186D}"/>
          </ac:spMkLst>
        </pc:spChg>
        <pc:spChg chg="del">
          <ac:chgData name="Aaron Phillips" userId="32c2824c-cf66-481e-8ea0-c7c34b9b613f" providerId="ADAL" clId="{00F31AC4-1965-48BA-9FB8-CB307B127CFD}" dt="2020-06-19T15:56:16.598" v="345" actId="478"/>
          <ac:spMkLst>
            <pc:docMk/>
            <pc:sldMk cId="2462466605" sldId="267"/>
            <ac:spMk id="17" creationId="{835CDF5B-888A-4FC4-9661-27D317AEB218}"/>
          </ac:spMkLst>
        </pc:spChg>
        <pc:spChg chg="del">
          <ac:chgData name="Aaron Phillips" userId="32c2824c-cf66-481e-8ea0-c7c34b9b613f" providerId="ADAL" clId="{00F31AC4-1965-48BA-9FB8-CB307B127CFD}" dt="2020-06-19T15:56:16.598" v="345" actId="478"/>
          <ac:spMkLst>
            <pc:docMk/>
            <pc:sldMk cId="2462466605" sldId="267"/>
            <ac:spMk id="18" creationId="{E5CDF1BD-98A7-4C83-8371-409AED6859FA}"/>
          </ac:spMkLst>
        </pc:spChg>
        <pc:spChg chg="mod">
          <ac:chgData name="Aaron Phillips" userId="32c2824c-cf66-481e-8ea0-c7c34b9b613f" providerId="ADAL" clId="{00F31AC4-1965-48BA-9FB8-CB307B127CFD}" dt="2020-06-19T15:56:17.287" v="346"/>
          <ac:spMkLst>
            <pc:docMk/>
            <pc:sldMk cId="2462466605" sldId="267"/>
            <ac:spMk id="19" creationId="{7DCB2BEA-FB04-464C-A526-FCF50F6B2468}"/>
          </ac:spMkLst>
        </pc:spChg>
        <pc:spChg chg="mod">
          <ac:chgData name="Aaron Phillips" userId="32c2824c-cf66-481e-8ea0-c7c34b9b613f" providerId="ADAL" clId="{00F31AC4-1965-48BA-9FB8-CB307B127CFD}" dt="2020-06-19T15:56:17.287" v="346"/>
          <ac:spMkLst>
            <pc:docMk/>
            <pc:sldMk cId="2462466605" sldId="267"/>
            <ac:spMk id="20" creationId="{D831E98F-CA0A-4BE1-8333-01B84188B401}"/>
          </ac:spMkLst>
        </pc:spChg>
        <pc:spChg chg="mod">
          <ac:chgData name="Aaron Phillips" userId="32c2824c-cf66-481e-8ea0-c7c34b9b613f" providerId="ADAL" clId="{00F31AC4-1965-48BA-9FB8-CB307B127CFD}" dt="2020-06-19T15:56:17.287" v="346"/>
          <ac:spMkLst>
            <pc:docMk/>
            <pc:sldMk cId="2462466605" sldId="267"/>
            <ac:spMk id="21" creationId="{C758D0FD-B410-47E4-9BF3-28272F154ACF}"/>
          </ac:spMkLst>
        </pc:spChg>
        <pc:spChg chg="mod">
          <ac:chgData name="Aaron Phillips" userId="32c2824c-cf66-481e-8ea0-c7c34b9b613f" providerId="ADAL" clId="{00F31AC4-1965-48BA-9FB8-CB307B127CFD}" dt="2020-06-19T15:56:26.792" v="348" actId="207"/>
          <ac:spMkLst>
            <pc:docMk/>
            <pc:sldMk cId="2462466605" sldId="267"/>
            <ac:spMk id="22" creationId="{D671AFE7-34C9-406F-8BBD-62DAAF18BFE3}"/>
          </ac:spMkLst>
        </pc:spChg>
        <pc:grpChg chg="add mod">
          <ac:chgData name="Aaron Phillips" userId="32c2824c-cf66-481e-8ea0-c7c34b9b613f" providerId="ADAL" clId="{00F31AC4-1965-48BA-9FB8-CB307B127CFD}" dt="2020-06-19T15:56:17.287" v="346"/>
          <ac:grpSpMkLst>
            <pc:docMk/>
            <pc:sldMk cId="2462466605" sldId="267"/>
            <ac:grpSpMk id="10" creationId="{532A1CB3-43D7-4027-B11B-E2680159DF43}"/>
          </ac:grpSpMkLst>
        </pc:grpChg>
      </pc:sldChg>
      <pc:sldChg chg="addSp delSp modSp mod">
        <pc:chgData name="Aaron Phillips" userId="32c2824c-cf66-481e-8ea0-c7c34b9b613f" providerId="ADAL" clId="{00F31AC4-1965-48BA-9FB8-CB307B127CFD}" dt="2020-06-19T15:57:46.414" v="362" actId="207"/>
        <pc:sldMkLst>
          <pc:docMk/>
          <pc:sldMk cId="1256632105" sldId="272"/>
        </pc:sldMkLst>
        <pc:spChg chg="mod">
          <ac:chgData name="Aaron Phillips" userId="32c2824c-cf66-481e-8ea0-c7c34b9b613f" providerId="ADAL" clId="{00F31AC4-1965-48BA-9FB8-CB307B127CFD}" dt="2020-06-19T15:57:31.165" v="359"/>
          <ac:spMkLst>
            <pc:docMk/>
            <pc:sldMk cId="1256632105" sldId="272"/>
            <ac:spMk id="13" creationId="{238B5981-6EB5-44AD-AF63-5367FF525848}"/>
          </ac:spMkLst>
        </pc:spChg>
        <pc:spChg chg="mod">
          <ac:chgData name="Aaron Phillips" userId="32c2824c-cf66-481e-8ea0-c7c34b9b613f" providerId="ADAL" clId="{00F31AC4-1965-48BA-9FB8-CB307B127CFD}" dt="2020-06-19T15:57:31.165" v="359"/>
          <ac:spMkLst>
            <pc:docMk/>
            <pc:sldMk cId="1256632105" sldId="272"/>
            <ac:spMk id="14" creationId="{66ECD374-7CB9-4669-BBA1-62D566D8745D}"/>
          </ac:spMkLst>
        </pc:spChg>
        <pc:spChg chg="mod">
          <ac:chgData name="Aaron Phillips" userId="32c2824c-cf66-481e-8ea0-c7c34b9b613f" providerId="ADAL" clId="{00F31AC4-1965-48BA-9FB8-CB307B127CFD}" dt="2020-06-19T15:57:46.414" v="362" actId="207"/>
          <ac:spMkLst>
            <pc:docMk/>
            <pc:sldMk cId="1256632105" sldId="272"/>
            <ac:spMk id="15" creationId="{80D81D3C-07E8-4640-9BAF-3D297E175518}"/>
          </ac:spMkLst>
        </pc:spChg>
        <pc:spChg chg="mod">
          <ac:chgData name="Aaron Phillips" userId="32c2824c-cf66-481e-8ea0-c7c34b9b613f" providerId="ADAL" clId="{00F31AC4-1965-48BA-9FB8-CB307B127CFD}" dt="2020-06-19T15:57:31.165" v="359"/>
          <ac:spMkLst>
            <pc:docMk/>
            <pc:sldMk cId="1256632105" sldId="272"/>
            <ac:spMk id="16" creationId="{E5589304-8C39-4F93-A03C-D41D54297AA0}"/>
          </ac:spMkLst>
        </pc:spChg>
        <pc:spChg chg="mod">
          <ac:chgData name="Aaron Phillips" userId="32c2824c-cf66-481e-8ea0-c7c34b9b613f" providerId="ADAL" clId="{00F31AC4-1965-48BA-9FB8-CB307B127CFD}" dt="2020-06-19T15:57:36.029" v="360" actId="108"/>
          <ac:spMkLst>
            <pc:docMk/>
            <pc:sldMk cId="1256632105" sldId="272"/>
            <ac:spMk id="17" creationId="{EF9FFA76-6A81-4E7A-AACC-380977F652D0}"/>
          </ac:spMkLst>
        </pc:spChg>
        <pc:spChg chg="del">
          <ac:chgData name="Aaron Phillips" userId="32c2824c-cf66-481e-8ea0-c7c34b9b613f" providerId="ADAL" clId="{00F31AC4-1965-48BA-9FB8-CB307B127CFD}" dt="2020-06-19T15:57:30.541" v="358" actId="478"/>
          <ac:spMkLst>
            <pc:docMk/>
            <pc:sldMk cId="1256632105" sldId="272"/>
            <ac:spMk id="20" creationId="{DE2EDB57-628C-45FA-826F-DC2E0EB45BBD}"/>
          </ac:spMkLst>
        </pc:spChg>
        <pc:spChg chg="del">
          <ac:chgData name="Aaron Phillips" userId="32c2824c-cf66-481e-8ea0-c7c34b9b613f" providerId="ADAL" clId="{00F31AC4-1965-48BA-9FB8-CB307B127CFD}" dt="2020-06-19T15:57:30.541" v="358" actId="478"/>
          <ac:spMkLst>
            <pc:docMk/>
            <pc:sldMk cId="1256632105" sldId="272"/>
            <ac:spMk id="21" creationId="{BD653042-C877-4997-B938-ABB4F91A0FFA}"/>
          </ac:spMkLst>
        </pc:spChg>
        <pc:spChg chg="del">
          <ac:chgData name="Aaron Phillips" userId="32c2824c-cf66-481e-8ea0-c7c34b9b613f" providerId="ADAL" clId="{00F31AC4-1965-48BA-9FB8-CB307B127CFD}" dt="2020-06-19T15:57:30.541" v="358" actId="478"/>
          <ac:spMkLst>
            <pc:docMk/>
            <pc:sldMk cId="1256632105" sldId="272"/>
            <ac:spMk id="22" creationId="{60CDC4DA-F830-4A1C-B69E-08FD4CE4DE21}"/>
          </ac:spMkLst>
        </pc:spChg>
        <pc:spChg chg="del">
          <ac:chgData name="Aaron Phillips" userId="32c2824c-cf66-481e-8ea0-c7c34b9b613f" providerId="ADAL" clId="{00F31AC4-1965-48BA-9FB8-CB307B127CFD}" dt="2020-06-19T15:57:30.541" v="358" actId="478"/>
          <ac:spMkLst>
            <pc:docMk/>
            <pc:sldMk cId="1256632105" sldId="272"/>
            <ac:spMk id="23" creationId="{1B52775D-EB25-458C-9644-E5C7E507340A}"/>
          </ac:spMkLst>
        </pc:spChg>
        <pc:spChg chg="del">
          <ac:chgData name="Aaron Phillips" userId="32c2824c-cf66-481e-8ea0-c7c34b9b613f" providerId="ADAL" clId="{00F31AC4-1965-48BA-9FB8-CB307B127CFD}" dt="2020-06-19T15:57:30.541" v="358" actId="478"/>
          <ac:spMkLst>
            <pc:docMk/>
            <pc:sldMk cId="1256632105" sldId="272"/>
            <ac:spMk id="24" creationId="{E2AAAA0C-3739-409A-BEA2-807B00134E85}"/>
          </ac:spMkLst>
        </pc:spChg>
        <pc:spChg chg="mod">
          <ac:chgData name="Aaron Phillips" userId="32c2824c-cf66-481e-8ea0-c7c34b9b613f" providerId="ADAL" clId="{00F31AC4-1965-48BA-9FB8-CB307B127CFD}" dt="2020-06-19T15:24:56.321" v="1" actId="14100"/>
          <ac:spMkLst>
            <pc:docMk/>
            <pc:sldMk cId="1256632105" sldId="272"/>
            <ac:spMk id="117" creationId="{D60DC56E-0AB1-47F6-9044-1EED358DD75E}"/>
          </ac:spMkLst>
        </pc:spChg>
        <pc:spChg chg="mod">
          <ac:chgData name="Aaron Phillips" userId="32c2824c-cf66-481e-8ea0-c7c34b9b613f" providerId="ADAL" clId="{00F31AC4-1965-48BA-9FB8-CB307B127CFD}" dt="2020-06-19T15:24:58.127" v="2" actId="14100"/>
          <ac:spMkLst>
            <pc:docMk/>
            <pc:sldMk cId="1256632105" sldId="272"/>
            <ac:spMk id="122" creationId="{4EA575D3-C70A-4117-974A-CA0021CEA554}"/>
          </ac:spMkLst>
        </pc:spChg>
        <pc:grpChg chg="add mod">
          <ac:chgData name="Aaron Phillips" userId="32c2824c-cf66-481e-8ea0-c7c34b9b613f" providerId="ADAL" clId="{00F31AC4-1965-48BA-9FB8-CB307B127CFD}" dt="2020-06-19T15:57:31.165" v="359"/>
          <ac:grpSpMkLst>
            <pc:docMk/>
            <pc:sldMk cId="1256632105" sldId="272"/>
            <ac:grpSpMk id="12" creationId="{3072D534-546B-4C3D-8BE6-41C75E579D0C}"/>
          </ac:grpSpMkLst>
        </pc:grpChg>
        <pc:graphicFrameChg chg="modGraphic">
          <ac:chgData name="Aaron Phillips" userId="32c2824c-cf66-481e-8ea0-c7c34b9b613f" providerId="ADAL" clId="{00F31AC4-1965-48BA-9FB8-CB307B127CFD}" dt="2020-06-19T15:24:53.011" v="0"/>
          <ac:graphicFrameMkLst>
            <pc:docMk/>
            <pc:sldMk cId="1256632105" sldId="272"/>
            <ac:graphicFrameMk id="135" creationId="{01D8CD0D-920C-44F0-A783-CCB8CD7C401B}"/>
          </ac:graphicFrameMkLst>
        </pc:graphicFrameChg>
      </pc:sldChg>
      <pc:sldChg chg="addSp delSp modSp mod">
        <pc:chgData name="Aaron Phillips" userId="32c2824c-cf66-481e-8ea0-c7c34b9b613f" providerId="ADAL" clId="{00F31AC4-1965-48BA-9FB8-CB307B127CFD}" dt="2020-06-19T15:57:08.709" v="355"/>
        <pc:sldMkLst>
          <pc:docMk/>
          <pc:sldMk cId="1166780803" sldId="274"/>
        </pc:sldMkLst>
        <pc:spChg chg="mod">
          <ac:chgData name="Aaron Phillips" userId="32c2824c-cf66-481e-8ea0-c7c34b9b613f" providerId="ADAL" clId="{00F31AC4-1965-48BA-9FB8-CB307B127CFD}" dt="2020-06-19T15:33:43.672" v="55" actId="14100"/>
          <ac:spMkLst>
            <pc:docMk/>
            <pc:sldMk cId="1166780803" sldId="274"/>
            <ac:spMk id="8" creationId="{68749344-81B0-49F9-AB33-6E4934B1AC6F}"/>
          </ac:spMkLst>
        </pc:spChg>
        <pc:spChg chg="mod">
          <ac:chgData name="Aaron Phillips" userId="32c2824c-cf66-481e-8ea0-c7c34b9b613f" providerId="ADAL" clId="{00F31AC4-1965-48BA-9FB8-CB307B127CFD}" dt="2020-06-19T15:33:59.565" v="57" actId="1076"/>
          <ac:spMkLst>
            <pc:docMk/>
            <pc:sldMk cId="1166780803" sldId="274"/>
            <ac:spMk id="9" creationId="{4C6C78BA-C09A-4DA1-82B7-EDB3E6D3313F}"/>
          </ac:spMkLst>
        </pc:spChg>
        <pc:spChg chg="mod">
          <ac:chgData name="Aaron Phillips" userId="32c2824c-cf66-481e-8ea0-c7c34b9b613f" providerId="ADAL" clId="{00F31AC4-1965-48BA-9FB8-CB307B127CFD}" dt="2020-06-19T15:57:08.709" v="355"/>
          <ac:spMkLst>
            <pc:docMk/>
            <pc:sldMk cId="1166780803" sldId="274"/>
            <ac:spMk id="67" creationId="{3AFC59E4-2163-412C-9DB3-9416EAFCB43D}"/>
          </ac:spMkLst>
        </pc:spChg>
        <pc:spChg chg="mod">
          <ac:chgData name="Aaron Phillips" userId="32c2824c-cf66-481e-8ea0-c7c34b9b613f" providerId="ADAL" clId="{00F31AC4-1965-48BA-9FB8-CB307B127CFD}" dt="2020-06-19T15:57:08.709" v="355"/>
          <ac:spMkLst>
            <pc:docMk/>
            <pc:sldMk cId="1166780803" sldId="274"/>
            <ac:spMk id="68" creationId="{66040B8F-AF89-4D14-938D-E692F4DDA663}"/>
          </ac:spMkLst>
        </pc:spChg>
        <pc:spChg chg="mod">
          <ac:chgData name="Aaron Phillips" userId="32c2824c-cf66-481e-8ea0-c7c34b9b613f" providerId="ADAL" clId="{00F31AC4-1965-48BA-9FB8-CB307B127CFD}" dt="2020-06-19T15:57:08.709" v="355"/>
          <ac:spMkLst>
            <pc:docMk/>
            <pc:sldMk cId="1166780803" sldId="274"/>
            <ac:spMk id="69" creationId="{B5DB4781-A08B-4702-95E3-EE0AF0E4AA90}"/>
          </ac:spMkLst>
        </pc:spChg>
        <pc:spChg chg="mod">
          <ac:chgData name="Aaron Phillips" userId="32c2824c-cf66-481e-8ea0-c7c34b9b613f" providerId="ADAL" clId="{00F31AC4-1965-48BA-9FB8-CB307B127CFD}" dt="2020-06-19T15:57:08.709" v="355"/>
          <ac:spMkLst>
            <pc:docMk/>
            <pc:sldMk cId="1166780803" sldId="274"/>
            <ac:spMk id="70" creationId="{0BF2A097-B5B4-42BC-89BF-14844245A00F}"/>
          </ac:spMkLst>
        </pc:spChg>
        <pc:spChg chg="del">
          <ac:chgData name="Aaron Phillips" userId="32c2824c-cf66-481e-8ea0-c7c34b9b613f" providerId="ADAL" clId="{00F31AC4-1965-48BA-9FB8-CB307B127CFD}" dt="2020-06-19T15:57:08.508" v="354" actId="478"/>
          <ac:spMkLst>
            <pc:docMk/>
            <pc:sldMk cId="1166780803" sldId="274"/>
            <ac:spMk id="71" creationId="{120AB0E7-B72D-412C-BD61-66426DEEA912}"/>
          </ac:spMkLst>
        </pc:spChg>
        <pc:spChg chg="del">
          <ac:chgData name="Aaron Phillips" userId="32c2824c-cf66-481e-8ea0-c7c34b9b613f" providerId="ADAL" clId="{00F31AC4-1965-48BA-9FB8-CB307B127CFD}" dt="2020-06-19T15:57:08.508" v="354" actId="478"/>
          <ac:spMkLst>
            <pc:docMk/>
            <pc:sldMk cId="1166780803" sldId="274"/>
            <ac:spMk id="72" creationId="{87503B92-F614-4D17-9864-8730BADC738C}"/>
          </ac:spMkLst>
        </pc:spChg>
        <pc:spChg chg="mod">
          <ac:chgData name="Aaron Phillips" userId="32c2824c-cf66-481e-8ea0-c7c34b9b613f" providerId="ADAL" clId="{00F31AC4-1965-48BA-9FB8-CB307B127CFD}" dt="2020-06-19T15:35:24.343" v="68" actId="14100"/>
          <ac:spMkLst>
            <pc:docMk/>
            <pc:sldMk cId="1166780803" sldId="274"/>
            <ac:spMk id="73" creationId="{F17D68ED-BBBB-46A2-A541-1BA7D47D9F26}"/>
          </ac:spMkLst>
        </pc:spChg>
        <pc:spChg chg="mod">
          <ac:chgData name="Aaron Phillips" userId="32c2824c-cf66-481e-8ea0-c7c34b9b613f" providerId="ADAL" clId="{00F31AC4-1965-48BA-9FB8-CB307B127CFD}" dt="2020-06-19T15:35:19.733" v="66" actId="164"/>
          <ac:spMkLst>
            <pc:docMk/>
            <pc:sldMk cId="1166780803" sldId="274"/>
            <ac:spMk id="74" creationId="{0715FCF1-BDAE-42B5-AE6C-5159E5CAD805}"/>
          </ac:spMkLst>
        </pc:spChg>
        <pc:spChg chg="del">
          <ac:chgData name="Aaron Phillips" userId="32c2824c-cf66-481e-8ea0-c7c34b9b613f" providerId="ADAL" clId="{00F31AC4-1965-48BA-9FB8-CB307B127CFD}" dt="2020-06-19T15:57:08.508" v="354" actId="478"/>
          <ac:spMkLst>
            <pc:docMk/>
            <pc:sldMk cId="1166780803" sldId="274"/>
            <ac:spMk id="99" creationId="{05D7BD18-8A4A-4607-9562-91ADE3EB5785}"/>
          </ac:spMkLst>
        </pc:spChg>
        <pc:spChg chg="del">
          <ac:chgData name="Aaron Phillips" userId="32c2824c-cf66-481e-8ea0-c7c34b9b613f" providerId="ADAL" clId="{00F31AC4-1965-48BA-9FB8-CB307B127CFD}" dt="2020-06-19T15:57:08.508" v="354" actId="478"/>
          <ac:spMkLst>
            <pc:docMk/>
            <pc:sldMk cId="1166780803" sldId="274"/>
            <ac:spMk id="100" creationId="{2AB061F6-A935-42DD-A39D-8F64AB2402CB}"/>
          </ac:spMkLst>
        </pc:spChg>
        <pc:spChg chg="del">
          <ac:chgData name="Aaron Phillips" userId="32c2824c-cf66-481e-8ea0-c7c34b9b613f" providerId="ADAL" clId="{00F31AC4-1965-48BA-9FB8-CB307B127CFD}" dt="2020-06-19T15:57:08.508" v="354" actId="478"/>
          <ac:spMkLst>
            <pc:docMk/>
            <pc:sldMk cId="1166780803" sldId="274"/>
            <ac:spMk id="101" creationId="{D68C4582-453D-4F6C-A71A-AA35459DE7BF}"/>
          </ac:spMkLst>
        </pc:spChg>
        <pc:spChg chg="mod">
          <ac:chgData name="Aaron Phillips" userId="32c2824c-cf66-481e-8ea0-c7c34b9b613f" providerId="ADAL" clId="{00F31AC4-1965-48BA-9FB8-CB307B127CFD}" dt="2020-06-19T15:57:08.709" v="355"/>
          <ac:spMkLst>
            <pc:docMk/>
            <pc:sldMk cId="1166780803" sldId="274"/>
            <ac:spMk id="102" creationId="{C981DBDB-7C6D-4682-9C46-4BA8A8B9EDB5}"/>
          </ac:spMkLst>
        </pc:spChg>
        <pc:grpChg chg="add mod">
          <ac:chgData name="Aaron Phillips" userId="32c2824c-cf66-481e-8ea0-c7c34b9b613f" providerId="ADAL" clId="{00F31AC4-1965-48BA-9FB8-CB307B127CFD}" dt="2020-06-19T15:35:22.152" v="67" actId="164"/>
          <ac:grpSpMkLst>
            <pc:docMk/>
            <pc:sldMk cId="1166780803" sldId="274"/>
            <ac:grpSpMk id="3" creationId="{6C0F6A42-709D-4DA4-92C3-9B202DBE3D9F}"/>
          </ac:grpSpMkLst>
        </pc:grpChg>
        <pc:grpChg chg="add mod">
          <ac:chgData name="Aaron Phillips" userId="32c2824c-cf66-481e-8ea0-c7c34b9b613f" providerId="ADAL" clId="{00F31AC4-1965-48BA-9FB8-CB307B127CFD}" dt="2020-06-19T15:35:22.152" v="67" actId="164"/>
          <ac:grpSpMkLst>
            <pc:docMk/>
            <pc:sldMk cId="1166780803" sldId="274"/>
            <ac:grpSpMk id="5" creationId="{1F706D5A-B39E-410F-9C4B-A5E1374F8D99}"/>
          </ac:grpSpMkLst>
        </pc:grpChg>
        <pc:grpChg chg="mod">
          <ac:chgData name="Aaron Phillips" userId="32c2824c-cf66-481e-8ea0-c7c34b9b613f" providerId="ADAL" clId="{00F31AC4-1965-48BA-9FB8-CB307B127CFD}" dt="2020-06-19T15:34:07.529" v="58" actId="1076"/>
          <ac:grpSpMkLst>
            <pc:docMk/>
            <pc:sldMk cId="1166780803" sldId="274"/>
            <ac:grpSpMk id="7" creationId="{EB292C67-7F47-45A0-9990-13F3B9F824F1}"/>
          </ac:grpSpMkLst>
        </pc:grpChg>
        <pc:grpChg chg="mod">
          <ac:chgData name="Aaron Phillips" userId="32c2824c-cf66-481e-8ea0-c7c34b9b613f" providerId="ADAL" clId="{00F31AC4-1965-48BA-9FB8-CB307B127CFD}" dt="2020-06-19T15:34:11.096" v="59" actId="14100"/>
          <ac:grpSpMkLst>
            <pc:docMk/>
            <pc:sldMk cId="1166780803" sldId="274"/>
            <ac:grpSpMk id="34" creationId="{A9706C8A-EDD5-43F1-B7F0-F518E72EF654}"/>
          </ac:grpSpMkLst>
        </pc:grpChg>
        <pc:grpChg chg="mod">
          <ac:chgData name="Aaron Phillips" userId="32c2824c-cf66-481e-8ea0-c7c34b9b613f" providerId="ADAL" clId="{00F31AC4-1965-48BA-9FB8-CB307B127CFD}" dt="2020-06-19T15:35:22.152" v="67" actId="164"/>
          <ac:grpSpMkLst>
            <pc:docMk/>
            <pc:sldMk cId="1166780803" sldId="274"/>
            <ac:grpSpMk id="45" creationId="{12DA9AA9-9D84-4C90-B54A-E39BF026020F}"/>
          </ac:grpSpMkLst>
        </pc:grpChg>
        <pc:grpChg chg="add mod">
          <ac:chgData name="Aaron Phillips" userId="32c2824c-cf66-481e-8ea0-c7c34b9b613f" providerId="ADAL" clId="{00F31AC4-1965-48BA-9FB8-CB307B127CFD}" dt="2020-06-19T15:57:08.709" v="355"/>
          <ac:grpSpMkLst>
            <pc:docMk/>
            <pc:sldMk cId="1166780803" sldId="274"/>
            <ac:grpSpMk id="66" creationId="{35160928-BD49-400A-A19A-F01DB86CDAC8}"/>
          </ac:grpSpMkLst>
        </pc:grpChg>
        <pc:grpChg chg="mod">
          <ac:chgData name="Aaron Phillips" userId="32c2824c-cf66-481e-8ea0-c7c34b9b613f" providerId="ADAL" clId="{00F31AC4-1965-48BA-9FB8-CB307B127CFD}" dt="2020-06-19T15:35:03.275" v="63" actId="14100"/>
          <ac:grpSpMkLst>
            <pc:docMk/>
            <pc:sldMk cId="1166780803" sldId="274"/>
            <ac:grpSpMk id="75" creationId="{CEC13A15-D003-49E2-B80B-766B7181B374}"/>
          </ac:grpSpMkLst>
        </pc:grpChg>
        <pc:grpChg chg="mod">
          <ac:chgData name="Aaron Phillips" userId="32c2824c-cf66-481e-8ea0-c7c34b9b613f" providerId="ADAL" clId="{00F31AC4-1965-48BA-9FB8-CB307B127CFD}" dt="2020-06-19T15:35:08.420" v="64" actId="1076"/>
          <ac:grpSpMkLst>
            <pc:docMk/>
            <pc:sldMk cId="1166780803" sldId="274"/>
            <ac:grpSpMk id="78" creationId="{5D4E1F14-7EB3-476D-8C09-E34754F2CCFE}"/>
          </ac:grpSpMkLst>
        </pc:grpChg>
        <pc:grpChg chg="mod">
          <ac:chgData name="Aaron Phillips" userId="32c2824c-cf66-481e-8ea0-c7c34b9b613f" providerId="ADAL" clId="{00F31AC4-1965-48BA-9FB8-CB307B127CFD}" dt="2020-06-19T15:35:03.275" v="63" actId="14100"/>
          <ac:grpSpMkLst>
            <pc:docMk/>
            <pc:sldMk cId="1166780803" sldId="274"/>
            <ac:grpSpMk id="81" creationId="{01658058-DF5F-4F44-9903-00BCA853DDD9}"/>
          </ac:grpSpMkLst>
        </pc:grpChg>
        <pc:grpChg chg="mod">
          <ac:chgData name="Aaron Phillips" userId="32c2824c-cf66-481e-8ea0-c7c34b9b613f" providerId="ADAL" clId="{00F31AC4-1965-48BA-9FB8-CB307B127CFD}" dt="2020-06-19T15:35:08.420" v="64" actId="1076"/>
          <ac:grpSpMkLst>
            <pc:docMk/>
            <pc:sldMk cId="1166780803" sldId="274"/>
            <ac:grpSpMk id="84" creationId="{ABEE05C5-DAE6-4A18-9BBD-17C01D642931}"/>
          </ac:grpSpMkLst>
        </pc:grpChg>
        <pc:grpChg chg="mod">
          <ac:chgData name="Aaron Phillips" userId="32c2824c-cf66-481e-8ea0-c7c34b9b613f" providerId="ADAL" clId="{00F31AC4-1965-48BA-9FB8-CB307B127CFD}" dt="2020-06-19T15:35:03.275" v="63" actId="14100"/>
          <ac:grpSpMkLst>
            <pc:docMk/>
            <pc:sldMk cId="1166780803" sldId="274"/>
            <ac:grpSpMk id="87" creationId="{F2902510-2DFA-4B55-9CCA-A25CA9FC2F0E}"/>
          </ac:grpSpMkLst>
        </pc:grpChg>
        <pc:grpChg chg="mod">
          <ac:chgData name="Aaron Phillips" userId="32c2824c-cf66-481e-8ea0-c7c34b9b613f" providerId="ADAL" clId="{00F31AC4-1965-48BA-9FB8-CB307B127CFD}" dt="2020-06-19T15:35:08.420" v="64" actId="1076"/>
          <ac:grpSpMkLst>
            <pc:docMk/>
            <pc:sldMk cId="1166780803" sldId="274"/>
            <ac:grpSpMk id="90" creationId="{6E2F51BF-D9C4-4F75-BA8F-7D997B06FC4C}"/>
          </ac:grpSpMkLst>
        </pc:grpChg>
        <pc:grpChg chg="mod">
          <ac:chgData name="Aaron Phillips" userId="32c2824c-cf66-481e-8ea0-c7c34b9b613f" providerId="ADAL" clId="{00F31AC4-1965-48BA-9FB8-CB307B127CFD}" dt="2020-06-19T15:34:19.826" v="61" actId="14100"/>
          <ac:grpSpMkLst>
            <pc:docMk/>
            <pc:sldMk cId="1166780803" sldId="274"/>
            <ac:grpSpMk id="93" creationId="{A4314757-64C8-4531-A6BF-78E814236F0B}"/>
          </ac:grpSpMkLst>
        </pc:grpChg>
        <pc:grpChg chg="mod">
          <ac:chgData name="Aaron Phillips" userId="32c2824c-cf66-481e-8ea0-c7c34b9b613f" providerId="ADAL" clId="{00F31AC4-1965-48BA-9FB8-CB307B127CFD}" dt="2020-06-19T15:34:24.143" v="62" actId="1076"/>
          <ac:grpSpMkLst>
            <pc:docMk/>
            <pc:sldMk cId="1166780803" sldId="274"/>
            <ac:grpSpMk id="96" creationId="{95106CA8-204C-487E-9C4A-C18C32DF118D}"/>
          </ac:grpSpMkLst>
        </pc:grpChg>
      </pc:sldChg>
      <pc:sldChg chg="addSp delSp modSp mod">
        <pc:chgData name="Aaron Phillips" userId="32c2824c-cf66-481e-8ea0-c7c34b9b613f" providerId="ADAL" clId="{00F31AC4-1965-48BA-9FB8-CB307B127CFD}" dt="2020-06-19T15:58:36.408" v="376"/>
        <pc:sldMkLst>
          <pc:docMk/>
          <pc:sldMk cId="2778361607" sldId="279"/>
        </pc:sldMkLst>
        <pc:spChg chg="mod">
          <ac:chgData name="Aaron Phillips" userId="32c2824c-cf66-481e-8ea0-c7c34b9b613f" providerId="ADAL" clId="{00F31AC4-1965-48BA-9FB8-CB307B127CFD}" dt="2020-06-19T15:58:36.408" v="376"/>
          <ac:spMkLst>
            <pc:docMk/>
            <pc:sldMk cId="2778361607" sldId="279"/>
            <ac:spMk id="55" creationId="{715B07C7-B6E1-446D-9AD0-7E261FB2696E}"/>
          </ac:spMkLst>
        </pc:spChg>
        <pc:spChg chg="mod">
          <ac:chgData name="Aaron Phillips" userId="32c2824c-cf66-481e-8ea0-c7c34b9b613f" providerId="ADAL" clId="{00F31AC4-1965-48BA-9FB8-CB307B127CFD}" dt="2020-06-19T15:58:36.408" v="376"/>
          <ac:spMkLst>
            <pc:docMk/>
            <pc:sldMk cId="2778361607" sldId="279"/>
            <ac:spMk id="56" creationId="{EF87F0FC-2997-466F-82C2-D0C09E79517B}"/>
          </ac:spMkLst>
        </pc:spChg>
        <pc:spChg chg="mod">
          <ac:chgData name="Aaron Phillips" userId="32c2824c-cf66-481e-8ea0-c7c34b9b613f" providerId="ADAL" clId="{00F31AC4-1965-48BA-9FB8-CB307B127CFD}" dt="2020-06-19T15:58:36.408" v="376"/>
          <ac:spMkLst>
            <pc:docMk/>
            <pc:sldMk cId="2778361607" sldId="279"/>
            <ac:spMk id="57" creationId="{7550228F-4797-4F1C-973F-DA7C1BEDFD0A}"/>
          </ac:spMkLst>
        </pc:spChg>
        <pc:spChg chg="mod">
          <ac:chgData name="Aaron Phillips" userId="32c2824c-cf66-481e-8ea0-c7c34b9b613f" providerId="ADAL" clId="{00F31AC4-1965-48BA-9FB8-CB307B127CFD}" dt="2020-06-19T15:58:36.408" v="376"/>
          <ac:spMkLst>
            <pc:docMk/>
            <pc:sldMk cId="2778361607" sldId="279"/>
            <ac:spMk id="58" creationId="{533E22BD-74B2-4820-93B5-308CFC1DB9FB}"/>
          </ac:spMkLst>
        </pc:spChg>
        <pc:spChg chg="mod">
          <ac:chgData name="Aaron Phillips" userId="32c2824c-cf66-481e-8ea0-c7c34b9b613f" providerId="ADAL" clId="{00F31AC4-1965-48BA-9FB8-CB307B127CFD}" dt="2020-06-19T15:58:36.408" v="376"/>
          <ac:spMkLst>
            <pc:docMk/>
            <pc:sldMk cId="2778361607" sldId="279"/>
            <ac:spMk id="59" creationId="{4225C7C8-4876-43AE-87D2-6BA0535EB2EB}"/>
          </ac:spMkLst>
        </pc:spChg>
        <pc:spChg chg="del">
          <ac:chgData name="Aaron Phillips" userId="32c2824c-cf66-481e-8ea0-c7c34b9b613f" providerId="ADAL" clId="{00F31AC4-1965-48BA-9FB8-CB307B127CFD}" dt="2020-06-19T15:58:35.905" v="375" actId="478"/>
          <ac:spMkLst>
            <pc:docMk/>
            <pc:sldMk cId="2778361607" sldId="279"/>
            <ac:spMk id="62" creationId="{691F7E04-1F60-42AB-89DB-C82731F6C430}"/>
          </ac:spMkLst>
        </pc:spChg>
        <pc:spChg chg="del">
          <ac:chgData name="Aaron Phillips" userId="32c2824c-cf66-481e-8ea0-c7c34b9b613f" providerId="ADAL" clId="{00F31AC4-1965-48BA-9FB8-CB307B127CFD}" dt="2020-06-19T15:58:35.905" v="375" actId="478"/>
          <ac:spMkLst>
            <pc:docMk/>
            <pc:sldMk cId="2778361607" sldId="279"/>
            <ac:spMk id="66" creationId="{515438BA-7727-4BBE-B21A-142F2A90E211}"/>
          </ac:spMkLst>
        </pc:spChg>
        <pc:spChg chg="del">
          <ac:chgData name="Aaron Phillips" userId="32c2824c-cf66-481e-8ea0-c7c34b9b613f" providerId="ADAL" clId="{00F31AC4-1965-48BA-9FB8-CB307B127CFD}" dt="2020-06-19T15:58:35.905" v="375" actId="478"/>
          <ac:spMkLst>
            <pc:docMk/>
            <pc:sldMk cId="2778361607" sldId="279"/>
            <ac:spMk id="67" creationId="{418A0CE5-C946-4018-91BB-EEBC93E17775}"/>
          </ac:spMkLst>
        </pc:spChg>
        <pc:spChg chg="del">
          <ac:chgData name="Aaron Phillips" userId="32c2824c-cf66-481e-8ea0-c7c34b9b613f" providerId="ADAL" clId="{00F31AC4-1965-48BA-9FB8-CB307B127CFD}" dt="2020-06-19T15:58:35.905" v="375" actId="478"/>
          <ac:spMkLst>
            <pc:docMk/>
            <pc:sldMk cId="2778361607" sldId="279"/>
            <ac:spMk id="68" creationId="{F1F6F59A-701B-4EA2-B331-A2F200381F37}"/>
          </ac:spMkLst>
        </pc:spChg>
        <pc:spChg chg="del">
          <ac:chgData name="Aaron Phillips" userId="32c2824c-cf66-481e-8ea0-c7c34b9b613f" providerId="ADAL" clId="{00F31AC4-1965-48BA-9FB8-CB307B127CFD}" dt="2020-06-19T15:58:35.905" v="375" actId="478"/>
          <ac:spMkLst>
            <pc:docMk/>
            <pc:sldMk cId="2778361607" sldId="279"/>
            <ac:spMk id="71" creationId="{435D3139-8184-4072-98C9-BB8519C1D110}"/>
          </ac:spMkLst>
        </pc:spChg>
        <pc:grpChg chg="add mod">
          <ac:chgData name="Aaron Phillips" userId="32c2824c-cf66-481e-8ea0-c7c34b9b613f" providerId="ADAL" clId="{00F31AC4-1965-48BA-9FB8-CB307B127CFD}" dt="2020-06-19T15:58:36.408" v="376"/>
          <ac:grpSpMkLst>
            <pc:docMk/>
            <pc:sldMk cId="2778361607" sldId="279"/>
            <ac:grpSpMk id="54" creationId="{DB7109B2-738A-4AB9-B54D-E8CFEC11C89D}"/>
          </ac:grpSpMkLst>
        </pc:grpChg>
        <pc:grpChg chg="mod">
          <ac:chgData name="Aaron Phillips" userId="32c2824c-cf66-481e-8ea0-c7c34b9b613f" providerId="ADAL" clId="{00F31AC4-1965-48BA-9FB8-CB307B127CFD}" dt="2020-06-19T15:31:06.888" v="44" actId="14100"/>
          <ac:grpSpMkLst>
            <pc:docMk/>
            <pc:sldMk cId="2778361607" sldId="279"/>
            <ac:grpSpMk id="79" creationId="{C48691C0-8EA6-46FB-BA02-C6024EDA58FA}"/>
          </ac:grpSpMkLst>
        </pc:grpChg>
      </pc:sldChg>
      <pc:sldChg chg="addSp delSp modSp mod">
        <pc:chgData name="Aaron Phillips" userId="32c2824c-cf66-481e-8ea0-c7c34b9b613f" providerId="ADAL" clId="{00F31AC4-1965-48BA-9FB8-CB307B127CFD}" dt="2020-06-19T15:58:05.024" v="367" actId="208"/>
        <pc:sldMkLst>
          <pc:docMk/>
          <pc:sldMk cId="1621187188" sldId="281"/>
        </pc:sldMkLst>
        <pc:spChg chg="mod">
          <ac:chgData name="Aaron Phillips" userId="32c2824c-cf66-481e-8ea0-c7c34b9b613f" providerId="ADAL" clId="{00F31AC4-1965-48BA-9FB8-CB307B127CFD}" dt="2020-06-19T15:26:19.144" v="10" actId="14100"/>
          <ac:spMkLst>
            <pc:docMk/>
            <pc:sldMk cId="1621187188" sldId="281"/>
            <ac:spMk id="7" creationId="{095C0F37-4000-4ABD-90AC-58B3CF767BB2}"/>
          </ac:spMkLst>
        </pc:spChg>
        <pc:spChg chg="mod">
          <ac:chgData name="Aaron Phillips" userId="32c2824c-cf66-481e-8ea0-c7c34b9b613f" providerId="ADAL" clId="{00F31AC4-1965-48BA-9FB8-CB307B127CFD}" dt="2020-06-19T15:31:42.205" v="45" actId="1076"/>
          <ac:spMkLst>
            <pc:docMk/>
            <pc:sldMk cId="1621187188" sldId="281"/>
            <ac:spMk id="23" creationId="{DF6DEF04-67A3-43C5-99C0-3BD42D726257}"/>
          </ac:spMkLst>
        </pc:spChg>
        <pc:spChg chg="mod">
          <ac:chgData name="Aaron Phillips" userId="32c2824c-cf66-481e-8ea0-c7c34b9b613f" providerId="ADAL" clId="{00F31AC4-1965-48BA-9FB8-CB307B127CFD}" dt="2020-06-19T15:28:19.077" v="30" actId="164"/>
          <ac:spMkLst>
            <pc:docMk/>
            <pc:sldMk cId="1621187188" sldId="281"/>
            <ac:spMk id="90" creationId="{B3433D60-6FCC-46EC-9BE8-62EA8C3130A6}"/>
          </ac:spMkLst>
        </pc:spChg>
        <pc:spChg chg="mod">
          <ac:chgData name="Aaron Phillips" userId="32c2824c-cf66-481e-8ea0-c7c34b9b613f" providerId="ADAL" clId="{00F31AC4-1965-48BA-9FB8-CB307B127CFD}" dt="2020-06-19T15:28:05.540" v="28" actId="14100"/>
          <ac:spMkLst>
            <pc:docMk/>
            <pc:sldMk cId="1621187188" sldId="281"/>
            <ac:spMk id="91" creationId="{49C630E7-17EF-497E-8A80-5129FC1F700F}"/>
          </ac:spMkLst>
        </pc:spChg>
        <pc:spChg chg="add del mod">
          <ac:chgData name="Aaron Phillips" userId="32c2824c-cf66-481e-8ea0-c7c34b9b613f" providerId="ADAL" clId="{00F31AC4-1965-48BA-9FB8-CB307B127CFD}" dt="2020-06-19T15:26:26.495" v="13" actId="478"/>
          <ac:spMkLst>
            <pc:docMk/>
            <pc:sldMk cId="1621187188" sldId="281"/>
            <ac:spMk id="92" creationId="{29DE5E46-C76F-4D5A-BD5A-2CA4F03AC9DE}"/>
          </ac:spMkLst>
        </pc:spChg>
        <pc:spChg chg="mod">
          <ac:chgData name="Aaron Phillips" userId="32c2824c-cf66-481e-8ea0-c7c34b9b613f" providerId="ADAL" clId="{00F31AC4-1965-48BA-9FB8-CB307B127CFD}" dt="2020-06-19T15:31:45.971" v="46" actId="1076"/>
          <ac:spMkLst>
            <pc:docMk/>
            <pc:sldMk cId="1621187188" sldId="281"/>
            <ac:spMk id="95" creationId="{FFBB677D-14B1-4306-A64B-9D1768B706B6}"/>
          </ac:spMkLst>
        </pc:spChg>
        <pc:spChg chg="mod">
          <ac:chgData name="Aaron Phillips" userId="32c2824c-cf66-481e-8ea0-c7c34b9b613f" providerId="ADAL" clId="{00F31AC4-1965-48BA-9FB8-CB307B127CFD}" dt="2020-06-19T15:57:51.746" v="364"/>
          <ac:spMkLst>
            <pc:docMk/>
            <pc:sldMk cId="1621187188" sldId="281"/>
            <ac:spMk id="97" creationId="{150F8D06-45A9-407A-963E-6C53D59BFBD7}"/>
          </ac:spMkLst>
        </pc:spChg>
        <pc:spChg chg="mod">
          <ac:chgData name="Aaron Phillips" userId="32c2824c-cf66-481e-8ea0-c7c34b9b613f" providerId="ADAL" clId="{00F31AC4-1965-48BA-9FB8-CB307B127CFD}" dt="2020-06-19T15:58:05.024" v="367" actId="208"/>
          <ac:spMkLst>
            <pc:docMk/>
            <pc:sldMk cId="1621187188" sldId="281"/>
            <ac:spMk id="108" creationId="{7B349DB3-ADBD-431D-B265-DC89AA902D48}"/>
          </ac:spMkLst>
        </pc:spChg>
        <pc:spChg chg="mod">
          <ac:chgData name="Aaron Phillips" userId="32c2824c-cf66-481e-8ea0-c7c34b9b613f" providerId="ADAL" clId="{00F31AC4-1965-48BA-9FB8-CB307B127CFD}" dt="2020-06-19T15:57:51.746" v="364"/>
          <ac:spMkLst>
            <pc:docMk/>
            <pc:sldMk cId="1621187188" sldId="281"/>
            <ac:spMk id="109" creationId="{9B8876AE-D21B-423D-A1C6-EFECA8C1C08A}"/>
          </ac:spMkLst>
        </pc:spChg>
        <pc:spChg chg="mod">
          <ac:chgData name="Aaron Phillips" userId="32c2824c-cf66-481e-8ea0-c7c34b9b613f" providerId="ADAL" clId="{00F31AC4-1965-48BA-9FB8-CB307B127CFD}" dt="2020-06-19T15:32:04.907" v="51" actId="1076"/>
          <ac:spMkLst>
            <pc:docMk/>
            <pc:sldMk cId="1621187188" sldId="281"/>
            <ac:spMk id="110" creationId="{255A5608-4C1E-44DD-9E6E-AC85B9CCE003}"/>
          </ac:spMkLst>
        </pc:spChg>
        <pc:spChg chg="del">
          <ac:chgData name="Aaron Phillips" userId="32c2824c-cf66-481e-8ea0-c7c34b9b613f" providerId="ADAL" clId="{00F31AC4-1965-48BA-9FB8-CB307B127CFD}" dt="2020-06-19T15:57:51.229" v="363" actId="478"/>
          <ac:spMkLst>
            <pc:docMk/>
            <pc:sldMk cId="1621187188" sldId="281"/>
            <ac:spMk id="111" creationId="{BC51E193-FE60-4245-AA54-0BD51E0BF27F}"/>
          </ac:spMkLst>
        </pc:spChg>
        <pc:spChg chg="del">
          <ac:chgData name="Aaron Phillips" userId="32c2824c-cf66-481e-8ea0-c7c34b9b613f" providerId="ADAL" clId="{00F31AC4-1965-48BA-9FB8-CB307B127CFD}" dt="2020-06-19T15:57:51.229" v="363" actId="478"/>
          <ac:spMkLst>
            <pc:docMk/>
            <pc:sldMk cId="1621187188" sldId="281"/>
            <ac:spMk id="112" creationId="{0B3F2CCE-AE1C-405E-92F1-9C5B7C12F9A4}"/>
          </ac:spMkLst>
        </pc:spChg>
        <pc:spChg chg="del">
          <ac:chgData name="Aaron Phillips" userId="32c2824c-cf66-481e-8ea0-c7c34b9b613f" providerId="ADAL" clId="{00F31AC4-1965-48BA-9FB8-CB307B127CFD}" dt="2020-06-19T15:57:51.229" v="363" actId="478"/>
          <ac:spMkLst>
            <pc:docMk/>
            <pc:sldMk cId="1621187188" sldId="281"/>
            <ac:spMk id="113" creationId="{4766DB5F-516D-42F3-94AE-77ABDE4A39A2}"/>
          </ac:spMkLst>
        </pc:spChg>
        <pc:spChg chg="del">
          <ac:chgData name="Aaron Phillips" userId="32c2824c-cf66-481e-8ea0-c7c34b9b613f" providerId="ADAL" clId="{00F31AC4-1965-48BA-9FB8-CB307B127CFD}" dt="2020-06-19T15:57:51.229" v="363" actId="478"/>
          <ac:spMkLst>
            <pc:docMk/>
            <pc:sldMk cId="1621187188" sldId="281"/>
            <ac:spMk id="119" creationId="{F0050C62-7EE0-48D5-801A-1F7ECD31584F}"/>
          </ac:spMkLst>
        </pc:spChg>
        <pc:spChg chg="del">
          <ac:chgData name="Aaron Phillips" userId="32c2824c-cf66-481e-8ea0-c7c34b9b613f" providerId="ADAL" clId="{00F31AC4-1965-48BA-9FB8-CB307B127CFD}" dt="2020-06-19T15:57:51.229" v="363" actId="478"/>
          <ac:spMkLst>
            <pc:docMk/>
            <pc:sldMk cId="1621187188" sldId="281"/>
            <ac:spMk id="120" creationId="{A4A0A53C-66E5-48D6-A546-93F0F1FAC597}"/>
          </ac:spMkLst>
        </pc:spChg>
        <pc:spChg chg="mod">
          <ac:chgData name="Aaron Phillips" userId="32c2824c-cf66-481e-8ea0-c7c34b9b613f" providerId="ADAL" clId="{00F31AC4-1965-48BA-9FB8-CB307B127CFD}" dt="2020-06-19T15:57:51.746" v="364"/>
          <ac:spMkLst>
            <pc:docMk/>
            <pc:sldMk cId="1621187188" sldId="281"/>
            <ac:spMk id="121" creationId="{07C0C5D7-562B-4843-B3C1-BA61F16FC348}"/>
          </ac:spMkLst>
        </pc:spChg>
        <pc:spChg chg="mod">
          <ac:chgData name="Aaron Phillips" userId="32c2824c-cf66-481e-8ea0-c7c34b9b613f" providerId="ADAL" clId="{00F31AC4-1965-48BA-9FB8-CB307B127CFD}" dt="2020-06-19T15:57:55" v="365" actId="108"/>
          <ac:spMkLst>
            <pc:docMk/>
            <pc:sldMk cId="1621187188" sldId="281"/>
            <ac:spMk id="122" creationId="{5B201EF5-EE5E-4704-9FBE-AB1413FC0495}"/>
          </ac:spMkLst>
        </pc:spChg>
        <pc:grpChg chg="add mod">
          <ac:chgData name="Aaron Phillips" userId="32c2824c-cf66-481e-8ea0-c7c34b9b613f" providerId="ADAL" clId="{00F31AC4-1965-48BA-9FB8-CB307B127CFD}" dt="2020-06-19T15:28:22.466" v="31" actId="14100"/>
          <ac:grpSpMkLst>
            <pc:docMk/>
            <pc:sldMk cId="1621187188" sldId="281"/>
            <ac:grpSpMk id="3" creationId="{50D91DB1-BFBB-4219-853F-0562D4DC7D89}"/>
          </ac:grpSpMkLst>
        </pc:grpChg>
        <pc:grpChg chg="mod">
          <ac:chgData name="Aaron Phillips" userId="32c2824c-cf66-481e-8ea0-c7c34b9b613f" providerId="ADAL" clId="{00F31AC4-1965-48BA-9FB8-CB307B127CFD}" dt="2020-06-19T15:28:10.390" v="29" actId="14100"/>
          <ac:grpSpMkLst>
            <pc:docMk/>
            <pc:sldMk cId="1621187188" sldId="281"/>
            <ac:grpSpMk id="4" creationId="{51435C95-1505-4B22-A945-B432D87FCD3B}"/>
          </ac:grpSpMkLst>
        </pc:grpChg>
        <pc:grpChg chg="mod">
          <ac:chgData name="Aaron Phillips" userId="32c2824c-cf66-481e-8ea0-c7c34b9b613f" providerId="ADAL" clId="{00F31AC4-1965-48BA-9FB8-CB307B127CFD}" dt="2020-06-19T15:31:51.792" v="47" actId="1076"/>
          <ac:grpSpMkLst>
            <pc:docMk/>
            <pc:sldMk cId="1621187188" sldId="281"/>
            <ac:grpSpMk id="12" creationId="{86421877-D66E-4C93-9065-0846C471CC38}"/>
          </ac:grpSpMkLst>
        </pc:grpChg>
        <pc:grpChg chg="mod">
          <ac:chgData name="Aaron Phillips" userId="32c2824c-cf66-481e-8ea0-c7c34b9b613f" providerId="ADAL" clId="{00F31AC4-1965-48BA-9FB8-CB307B127CFD}" dt="2020-06-19T15:31:51.792" v="47" actId="1076"/>
          <ac:grpSpMkLst>
            <pc:docMk/>
            <pc:sldMk cId="1621187188" sldId="281"/>
            <ac:grpSpMk id="13" creationId="{B5CEDDAC-D52C-4EB3-A210-7F046A673A72}"/>
          </ac:grpSpMkLst>
        </pc:grpChg>
        <pc:grpChg chg="mod">
          <ac:chgData name="Aaron Phillips" userId="32c2824c-cf66-481e-8ea0-c7c34b9b613f" providerId="ADAL" clId="{00F31AC4-1965-48BA-9FB8-CB307B127CFD}" dt="2020-06-19T15:31:51.792" v="47" actId="1076"/>
          <ac:grpSpMkLst>
            <pc:docMk/>
            <pc:sldMk cId="1621187188" sldId="281"/>
            <ac:grpSpMk id="14" creationId="{4F51814C-A6AD-4A8C-BF1A-1FFE2370DDB3}"/>
          </ac:grpSpMkLst>
        </pc:grpChg>
        <pc:grpChg chg="mod">
          <ac:chgData name="Aaron Phillips" userId="32c2824c-cf66-481e-8ea0-c7c34b9b613f" providerId="ADAL" clId="{00F31AC4-1965-48BA-9FB8-CB307B127CFD}" dt="2020-06-19T15:31:51.792" v="47" actId="1076"/>
          <ac:grpSpMkLst>
            <pc:docMk/>
            <pc:sldMk cId="1621187188" sldId="281"/>
            <ac:grpSpMk id="17" creationId="{9E2E6C1D-846C-4142-AC18-9067BDB6441E}"/>
          </ac:grpSpMkLst>
        </pc:grpChg>
        <pc:grpChg chg="mod">
          <ac:chgData name="Aaron Phillips" userId="32c2824c-cf66-481e-8ea0-c7c34b9b613f" providerId="ADAL" clId="{00F31AC4-1965-48BA-9FB8-CB307B127CFD}" dt="2020-06-19T15:27:28.613" v="19" actId="14100"/>
          <ac:grpSpMkLst>
            <pc:docMk/>
            <pc:sldMk cId="1621187188" sldId="281"/>
            <ac:grpSpMk id="24" creationId="{FE17FCBA-D01A-4D72-B2E2-F88339530C17}"/>
          </ac:grpSpMkLst>
        </pc:grpChg>
        <pc:grpChg chg="mod">
          <ac:chgData name="Aaron Phillips" userId="32c2824c-cf66-481e-8ea0-c7c34b9b613f" providerId="ADAL" clId="{00F31AC4-1965-48BA-9FB8-CB307B127CFD}" dt="2020-06-19T15:27:55.339" v="26" actId="1076"/>
          <ac:grpSpMkLst>
            <pc:docMk/>
            <pc:sldMk cId="1621187188" sldId="281"/>
            <ac:grpSpMk id="27" creationId="{C38631BD-6712-4A98-B955-40DDA240EBFA}"/>
          </ac:grpSpMkLst>
        </pc:grpChg>
        <pc:grpChg chg="mod">
          <ac:chgData name="Aaron Phillips" userId="32c2824c-cf66-481e-8ea0-c7c34b9b613f" providerId="ADAL" clId="{00F31AC4-1965-48BA-9FB8-CB307B127CFD}" dt="2020-06-19T15:28:28.457" v="32" actId="1076"/>
          <ac:grpSpMkLst>
            <pc:docMk/>
            <pc:sldMk cId="1621187188" sldId="281"/>
            <ac:grpSpMk id="30" creationId="{D3AD8497-3E48-424B-A43F-2C2ECB219976}"/>
          </ac:grpSpMkLst>
        </pc:grpChg>
        <pc:grpChg chg="mod">
          <ac:chgData name="Aaron Phillips" userId="32c2824c-cf66-481e-8ea0-c7c34b9b613f" providerId="ADAL" clId="{00F31AC4-1965-48BA-9FB8-CB307B127CFD}" dt="2020-06-19T15:31:54.406" v="48" actId="1076"/>
          <ac:grpSpMkLst>
            <pc:docMk/>
            <pc:sldMk cId="1621187188" sldId="281"/>
            <ac:grpSpMk id="37" creationId="{723EED79-86B8-44DC-8B82-2997E7F06FB8}"/>
          </ac:grpSpMkLst>
        </pc:grpChg>
        <pc:grpChg chg="mod">
          <ac:chgData name="Aaron Phillips" userId="32c2824c-cf66-481e-8ea0-c7c34b9b613f" providerId="ADAL" clId="{00F31AC4-1965-48BA-9FB8-CB307B127CFD}" dt="2020-06-19T15:27:40.088" v="23" actId="14100"/>
          <ac:grpSpMkLst>
            <pc:docMk/>
            <pc:sldMk cId="1621187188" sldId="281"/>
            <ac:grpSpMk id="46" creationId="{62A166B2-A144-412A-9CAD-1BD5E0D1BB20}"/>
          </ac:grpSpMkLst>
        </pc:grpChg>
        <pc:grpChg chg="mod">
          <ac:chgData name="Aaron Phillips" userId="32c2824c-cf66-481e-8ea0-c7c34b9b613f" providerId="ADAL" clId="{00F31AC4-1965-48BA-9FB8-CB307B127CFD}" dt="2020-06-19T15:27:49.631" v="25" actId="1076"/>
          <ac:grpSpMkLst>
            <pc:docMk/>
            <pc:sldMk cId="1621187188" sldId="281"/>
            <ac:grpSpMk id="49" creationId="{16B81B07-4D39-434B-86AD-3D2CA10613F1}"/>
          </ac:grpSpMkLst>
        </pc:grpChg>
        <pc:grpChg chg="mod">
          <ac:chgData name="Aaron Phillips" userId="32c2824c-cf66-481e-8ea0-c7c34b9b613f" providerId="ADAL" clId="{00F31AC4-1965-48BA-9FB8-CB307B127CFD}" dt="2020-06-19T15:27:44.205" v="24" actId="14100"/>
          <ac:grpSpMkLst>
            <pc:docMk/>
            <pc:sldMk cId="1621187188" sldId="281"/>
            <ac:grpSpMk id="52" creationId="{BA4873C7-9767-4152-8A10-A4B7FA77E47F}"/>
          </ac:grpSpMkLst>
        </pc:grpChg>
        <pc:grpChg chg="mod">
          <ac:chgData name="Aaron Phillips" userId="32c2824c-cf66-481e-8ea0-c7c34b9b613f" providerId="ADAL" clId="{00F31AC4-1965-48BA-9FB8-CB307B127CFD}" dt="2020-06-19T15:27:59.520" v="27" actId="1076"/>
          <ac:grpSpMkLst>
            <pc:docMk/>
            <pc:sldMk cId="1621187188" sldId="281"/>
            <ac:grpSpMk id="55" creationId="{2DE732FE-3C2E-4448-A6F9-26B510BD04F2}"/>
          </ac:grpSpMkLst>
        </pc:grpChg>
        <pc:grpChg chg="mod">
          <ac:chgData name="Aaron Phillips" userId="32c2824c-cf66-481e-8ea0-c7c34b9b613f" providerId="ADAL" clId="{00F31AC4-1965-48BA-9FB8-CB307B127CFD}" dt="2020-06-19T15:31:57.534" v="49" actId="1076"/>
          <ac:grpSpMkLst>
            <pc:docMk/>
            <pc:sldMk cId="1621187188" sldId="281"/>
            <ac:grpSpMk id="58" creationId="{18CB21B5-15BA-4D5F-B3CF-B57F8EF0EE3C}"/>
          </ac:grpSpMkLst>
        </pc:grpChg>
        <pc:grpChg chg="mod">
          <ac:chgData name="Aaron Phillips" userId="32c2824c-cf66-481e-8ea0-c7c34b9b613f" providerId="ADAL" clId="{00F31AC4-1965-48BA-9FB8-CB307B127CFD}" dt="2020-06-19T15:28:19.077" v="30" actId="164"/>
          <ac:grpSpMkLst>
            <pc:docMk/>
            <pc:sldMk cId="1621187188" sldId="281"/>
            <ac:grpSpMk id="78" creationId="{9C7EBE8B-640F-414C-AA04-CFBC81146A86}"/>
          </ac:grpSpMkLst>
        </pc:grpChg>
        <pc:grpChg chg="mod">
          <ac:chgData name="Aaron Phillips" userId="32c2824c-cf66-481e-8ea0-c7c34b9b613f" providerId="ADAL" clId="{00F31AC4-1965-48BA-9FB8-CB307B127CFD}" dt="2020-06-19T15:28:19.077" v="30" actId="164"/>
          <ac:grpSpMkLst>
            <pc:docMk/>
            <pc:sldMk cId="1621187188" sldId="281"/>
            <ac:grpSpMk id="81" creationId="{86780858-DD35-400B-B284-87CADF5C1EB5}"/>
          </ac:grpSpMkLst>
        </pc:grpChg>
        <pc:grpChg chg="mod">
          <ac:chgData name="Aaron Phillips" userId="32c2824c-cf66-481e-8ea0-c7c34b9b613f" providerId="ADAL" clId="{00F31AC4-1965-48BA-9FB8-CB307B127CFD}" dt="2020-06-19T15:28:19.077" v="30" actId="164"/>
          <ac:grpSpMkLst>
            <pc:docMk/>
            <pc:sldMk cId="1621187188" sldId="281"/>
            <ac:grpSpMk id="84" creationId="{3AB817CA-885E-4B5E-8763-3B13000ED3FE}"/>
          </ac:grpSpMkLst>
        </pc:grpChg>
        <pc:grpChg chg="mod">
          <ac:chgData name="Aaron Phillips" userId="32c2824c-cf66-481e-8ea0-c7c34b9b613f" providerId="ADAL" clId="{00F31AC4-1965-48BA-9FB8-CB307B127CFD}" dt="2020-06-19T15:28:19.077" v="30" actId="164"/>
          <ac:grpSpMkLst>
            <pc:docMk/>
            <pc:sldMk cId="1621187188" sldId="281"/>
            <ac:grpSpMk id="87" creationId="{E62241E2-8558-425F-9A23-1ECB9BF98AF4}"/>
          </ac:grpSpMkLst>
        </pc:grpChg>
        <pc:grpChg chg="add mod">
          <ac:chgData name="Aaron Phillips" userId="32c2824c-cf66-481e-8ea0-c7c34b9b613f" providerId="ADAL" clId="{00F31AC4-1965-48BA-9FB8-CB307B127CFD}" dt="2020-06-19T15:57:51.746" v="364"/>
          <ac:grpSpMkLst>
            <pc:docMk/>
            <pc:sldMk cId="1621187188" sldId="281"/>
            <ac:grpSpMk id="94" creationId="{F522CC9A-C05A-49DE-9658-FDAC96E49129}"/>
          </ac:grpSpMkLst>
        </pc:grpChg>
        <pc:grpChg chg="mod">
          <ac:chgData name="Aaron Phillips" userId="32c2824c-cf66-481e-8ea0-c7c34b9b613f" providerId="ADAL" clId="{00F31AC4-1965-48BA-9FB8-CB307B127CFD}" dt="2020-06-19T15:32:00.221" v="50" actId="1076"/>
          <ac:grpSpMkLst>
            <pc:docMk/>
            <pc:sldMk cId="1621187188" sldId="281"/>
            <ac:grpSpMk id="116" creationId="{6B356327-E5D0-45F8-B05C-F855E68C586F}"/>
          </ac:grpSpMkLst>
        </pc:grpChg>
      </pc:sldChg>
      <pc:sldChg chg="addSp delSp modSp mod">
        <pc:chgData name="Aaron Phillips" userId="32c2824c-cf66-481e-8ea0-c7c34b9b613f" providerId="ADAL" clId="{00F31AC4-1965-48BA-9FB8-CB307B127CFD}" dt="2020-06-19T15:57:23.974" v="357"/>
        <pc:sldMkLst>
          <pc:docMk/>
          <pc:sldMk cId="2052197555" sldId="282"/>
        </pc:sldMkLst>
        <pc:spChg chg="mod">
          <ac:chgData name="Aaron Phillips" userId="32c2824c-cf66-481e-8ea0-c7c34b9b613f" providerId="ADAL" clId="{00F31AC4-1965-48BA-9FB8-CB307B127CFD}" dt="2020-06-19T15:30:37.548" v="41" actId="14100"/>
          <ac:spMkLst>
            <pc:docMk/>
            <pc:sldMk cId="2052197555" sldId="282"/>
            <ac:spMk id="7" creationId="{D06FD261-09CF-4E68-A6A1-7AE5AC7DE050}"/>
          </ac:spMkLst>
        </pc:spChg>
        <pc:spChg chg="mod">
          <ac:chgData name="Aaron Phillips" userId="32c2824c-cf66-481e-8ea0-c7c34b9b613f" providerId="ADAL" clId="{00F31AC4-1965-48BA-9FB8-CB307B127CFD}" dt="2020-06-19T15:56:37.977" v="350"/>
          <ac:spMkLst>
            <pc:docMk/>
            <pc:sldMk cId="2052197555" sldId="282"/>
            <ac:spMk id="50" creationId="{A395BC9B-06D2-46E0-AA89-E121A0BD209A}"/>
          </ac:spMkLst>
        </pc:spChg>
        <pc:spChg chg="mod">
          <ac:chgData name="Aaron Phillips" userId="32c2824c-cf66-481e-8ea0-c7c34b9b613f" providerId="ADAL" clId="{00F31AC4-1965-48BA-9FB8-CB307B127CFD}" dt="2020-06-19T15:56:37.977" v="350"/>
          <ac:spMkLst>
            <pc:docMk/>
            <pc:sldMk cId="2052197555" sldId="282"/>
            <ac:spMk id="51" creationId="{CF85F0E1-9C3E-4E18-B5F7-5FB4AC96706A}"/>
          </ac:spMkLst>
        </pc:spChg>
        <pc:spChg chg="mod">
          <ac:chgData name="Aaron Phillips" userId="32c2824c-cf66-481e-8ea0-c7c34b9b613f" providerId="ADAL" clId="{00F31AC4-1965-48BA-9FB8-CB307B127CFD}" dt="2020-06-19T15:56:37.977" v="350"/>
          <ac:spMkLst>
            <pc:docMk/>
            <pc:sldMk cId="2052197555" sldId="282"/>
            <ac:spMk id="52" creationId="{129AE645-D921-460F-9D66-F4F49B448FC4}"/>
          </ac:spMkLst>
        </pc:spChg>
        <pc:spChg chg="mod">
          <ac:chgData name="Aaron Phillips" userId="32c2824c-cf66-481e-8ea0-c7c34b9b613f" providerId="ADAL" clId="{00F31AC4-1965-48BA-9FB8-CB307B127CFD}" dt="2020-06-19T15:56:57.524" v="353" actId="207"/>
          <ac:spMkLst>
            <pc:docMk/>
            <pc:sldMk cId="2052197555" sldId="282"/>
            <ac:spMk id="55" creationId="{B71266BF-59EE-4315-83F0-1D7FC5839551}"/>
          </ac:spMkLst>
        </pc:spChg>
        <pc:spChg chg="mod">
          <ac:chgData name="Aaron Phillips" userId="32c2824c-cf66-481e-8ea0-c7c34b9b613f" providerId="ADAL" clId="{00F31AC4-1965-48BA-9FB8-CB307B127CFD}" dt="2020-06-19T15:56:37.977" v="350"/>
          <ac:spMkLst>
            <pc:docMk/>
            <pc:sldMk cId="2052197555" sldId="282"/>
            <ac:spMk id="56" creationId="{9469CEA5-E515-49A5-9543-33C5525EFE6C}"/>
          </ac:spMkLst>
        </pc:spChg>
        <pc:spChg chg="mod">
          <ac:chgData name="Aaron Phillips" userId="32c2824c-cf66-481e-8ea0-c7c34b9b613f" providerId="ADAL" clId="{00F31AC4-1965-48BA-9FB8-CB307B127CFD}" dt="2020-06-19T15:57:23.974" v="357"/>
          <ac:spMkLst>
            <pc:docMk/>
            <pc:sldMk cId="2052197555" sldId="282"/>
            <ac:spMk id="58" creationId="{FA906474-3CB8-4A50-9009-EF17832F9DA6}"/>
          </ac:spMkLst>
        </pc:spChg>
        <pc:spChg chg="mod">
          <ac:chgData name="Aaron Phillips" userId="32c2824c-cf66-481e-8ea0-c7c34b9b613f" providerId="ADAL" clId="{00F31AC4-1965-48BA-9FB8-CB307B127CFD}" dt="2020-06-19T15:57:23.974" v="357"/>
          <ac:spMkLst>
            <pc:docMk/>
            <pc:sldMk cId="2052197555" sldId="282"/>
            <ac:spMk id="59" creationId="{32E5343F-87C7-4107-BEEA-83B6A35D18D5}"/>
          </ac:spMkLst>
        </pc:spChg>
        <pc:spChg chg="mod">
          <ac:chgData name="Aaron Phillips" userId="32c2824c-cf66-481e-8ea0-c7c34b9b613f" providerId="ADAL" clId="{00F31AC4-1965-48BA-9FB8-CB307B127CFD}" dt="2020-06-19T15:57:23.974" v="357"/>
          <ac:spMkLst>
            <pc:docMk/>
            <pc:sldMk cId="2052197555" sldId="282"/>
            <ac:spMk id="60" creationId="{CC0062C9-CCEA-4FAA-A5BD-5106709FE1D5}"/>
          </ac:spMkLst>
        </pc:spChg>
        <pc:spChg chg="mod">
          <ac:chgData name="Aaron Phillips" userId="32c2824c-cf66-481e-8ea0-c7c34b9b613f" providerId="ADAL" clId="{00F31AC4-1965-48BA-9FB8-CB307B127CFD}" dt="2020-06-19T15:57:23.974" v="357"/>
          <ac:spMkLst>
            <pc:docMk/>
            <pc:sldMk cId="2052197555" sldId="282"/>
            <ac:spMk id="61" creationId="{781F5639-50C2-4E38-A714-1A4567911064}"/>
          </ac:spMkLst>
        </pc:spChg>
        <pc:spChg chg="mod">
          <ac:chgData name="Aaron Phillips" userId="32c2824c-cf66-481e-8ea0-c7c34b9b613f" providerId="ADAL" clId="{00F31AC4-1965-48BA-9FB8-CB307B127CFD}" dt="2020-06-19T15:57:23.974" v="357"/>
          <ac:spMkLst>
            <pc:docMk/>
            <pc:sldMk cId="2052197555" sldId="282"/>
            <ac:spMk id="62" creationId="{75FACE08-AAEA-4A25-8104-BD9E115D673D}"/>
          </ac:spMkLst>
        </pc:spChg>
        <pc:spChg chg="del">
          <ac:chgData name="Aaron Phillips" userId="32c2824c-cf66-481e-8ea0-c7c34b9b613f" providerId="ADAL" clId="{00F31AC4-1965-48BA-9FB8-CB307B127CFD}" dt="2020-06-19T15:56:37.445" v="349" actId="478"/>
          <ac:spMkLst>
            <pc:docMk/>
            <pc:sldMk cId="2052197555" sldId="282"/>
            <ac:spMk id="65" creationId="{8032CE0B-9384-459C-B6BF-5CDC5C0CC16A}"/>
          </ac:spMkLst>
        </pc:spChg>
        <pc:spChg chg="del">
          <ac:chgData name="Aaron Phillips" userId="32c2824c-cf66-481e-8ea0-c7c34b9b613f" providerId="ADAL" clId="{00F31AC4-1965-48BA-9FB8-CB307B127CFD}" dt="2020-06-19T15:56:37.445" v="349" actId="478"/>
          <ac:spMkLst>
            <pc:docMk/>
            <pc:sldMk cId="2052197555" sldId="282"/>
            <ac:spMk id="66" creationId="{2EB87F06-445D-4ADC-AB14-8340F621B41A}"/>
          </ac:spMkLst>
        </pc:spChg>
        <pc:spChg chg="del">
          <ac:chgData name="Aaron Phillips" userId="32c2824c-cf66-481e-8ea0-c7c34b9b613f" providerId="ADAL" clId="{00F31AC4-1965-48BA-9FB8-CB307B127CFD}" dt="2020-06-19T15:56:37.445" v="349" actId="478"/>
          <ac:spMkLst>
            <pc:docMk/>
            <pc:sldMk cId="2052197555" sldId="282"/>
            <ac:spMk id="67" creationId="{53854156-69B4-4935-BA02-14F263CE4E5E}"/>
          </ac:spMkLst>
        </pc:spChg>
        <pc:spChg chg="del">
          <ac:chgData name="Aaron Phillips" userId="32c2824c-cf66-481e-8ea0-c7c34b9b613f" providerId="ADAL" clId="{00F31AC4-1965-48BA-9FB8-CB307B127CFD}" dt="2020-06-19T15:56:37.445" v="349" actId="478"/>
          <ac:spMkLst>
            <pc:docMk/>
            <pc:sldMk cId="2052197555" sldId="282"/>
            <ac:spMk id="68" creationId="{67038354-6DE1-4190-8A5B-28EEC1F0FE92}"/>
          </ac:spMkLst>
        </pc:spChg>
        <pc:spChg chg="del">
          <ac:chgData name="Aaron Phillips" userId="32c2824c-cf66-481e-8ea0-c7c34b9b613f" providerId="ADAL" clId="{00F31AC4-1965-48BA-9FB8-CB307B127CFD}" dt="2020-06-19T15:56:37.445" v="349" actId="478"/>
          <ac:spMkLst>
            <pc:docMk/>
            <pc:sldMk cId="2052197555" sldId="282"/>
            <ac:spMk id="69" creationId="{B3C06629-4D5C-4A73-9EB7-1FBEA331B2CD}"/>
          </ac:spMkLst>
        </pc:spChg>
        <pc:spChg chg="mod">
          <ac:chgData name="Aaron Phillips" userId="32c2824c-cf66-481e-8ea0-c7c34b9b613f" providerId="ADAL" clId="{00F31AC4-1965-48BA-9FB8-CB307B127CFD}" dt="2020-06-19T15:33:10.532" v="52" actId="1076"/>
          <ac:spMkLst>
            <pc:docMk/>
            <pc:sldMk cId="2052197555" sldId="282"/>
            <ac:spMk id="91" creationId="{609AE83C-5CDD-4F53-84A1-A88741F42251}"/>
          </ac:spMkLst>
        </pc:spChg>
        <pc:spChg chg="mod">
          <ac:chgData name="Aaron Phillips" userId="32c2824c-cf66-481e-8ea0-c7c34b9b613f" providerId="ADAL" clId="{00F31AC4-1965-48BA-9FB8-CB307B127CFD}" dt="2020-06-19T15:33:22.029" v="54" actId="1076"/>
          <ac:spMkLst>
            <pc:docMk/>
            <pc:sldMk cId="2052197555" sldId="282"/>
            <ac:spMk id="104" creationId="{802EAA29-E956-4D94-9771-1BCEA6BCAFA4}"/>
          </ac:spMkLst>
        </pc:spChg>
        <pc:grpChg chg="mod">
          <ac:chgData name="Aaron Phillips" userId="32c2824c-cf66-481e-8ea0-c7c34b9b613f" providerId="ADAL" clId="{00F31AC4-1965-48BA-9FB8-CB307B127CFD}" dt="2020-06-19T15:30:37.548" v="41" actId="14100"/>
          <ac:grpSpMkLst>
            <pc:docMk/>
            <pc:sldMk cId="2052197555" sldId="282"/>
            <ac:grpSpMk id="9" creationId="{0BB42B05-2654-4B1D-8043-4594B8D5222F}"/>
          </ac:grpSpMkLst>
        </pc:grpChg>
        <pc:grpChg chg="mod">
          <ac:chgData name="Aaron Phillips" userId="32c2824c-cf66-481e-8ea0-c7c34b9b613f" providerId="ADAL" clId="{00F31AC4-1965-48BA-9FB8-CB307B127CFD}" dt="2020-06-19T15:33:18.528" v="53" actId="1076"/>
          <ac:grpSpMkLst>
            <pc:docMk/>
            <pc:sldMk cId="2052197555" sldId="282"/>
            <ac:grpSpMk id="15" creationId="{35BAD743-F7F2-4B79-B95F-B28173ABB9CB}"/>
          </ac:grpSpMkLst>
        </pc:grpChg>
        <pc:grpChg chg="mod">
          <ac:chgData name="Aaron Phillips" userId="32c2824c-cf66-481e-8ea0-c7c34b9b613f" providerId="ADAL" clId="{00F31AC4-1965-48BA-9FB8-CB307B127CFD}" dt="2020-06-19T15:33:18.528" v="53" actId="1076"/>
          <ac:grpSpMkLst>
            <pc:docMk/>
            <pc:sldMk cId="2052197555" sldId="282"/>
            <ac:grpSpMk id="18" creationId="{7948D3A3-D7DB-48A9-A7CF-9FDE872470E9}"/>
          </ac:grpSpMkLst>
        </pc:grpChg>
        <pc:grpChg chg="mod">
          <ac:chgData name="Aaron Phillips" userId="32c2824c-cf66-481e-8ea0-c7c34b9b613f" providerId="ADAL" clId="{00F31AC4-1965-48BA-9FB8-CB307B127CFD}" dt="2020-06-19T15:33:18.528" v="53" actId="1076"/>
          <ac:grpSpMkLst>
            <pc:docMk/>
            <pc:sldMk cId="2052197555" sldId="282"/>
            <ac:grpSpMk id="21" creationId="{67412F59-CE13-489F-96FF-30FCA49D587F}"/>
          </ac:grpSpMkLst>
        </pc:grpChg>
        <pc:grpChg chg="mod">
          <ac:chgData name="Aaron Phillips" userId="32c2824c-cf66-481e-8ea0-c7c34b9b613f" providerId="ADAL" clId="{00F31AC4-1965-48BA-9FB8-CB307B127CFD}" dt="2020-06-19T15:30:37.548" v="41" actId="14100"/>
          <ac:grpSpMkLst>
            <pc:docMk/>
            <pc:sldMk cId="2052197555" sldId="282"/>
            <ac:grpSpMk id="43" creationId="{35B30B7B-4572-4434-8F1F-6222DB9756FD}"/>
          </ac:grpSpMkLst>
        </pc:grpChg>
        <pc:grpChg chg="mod">
          <ac:chgData name="Aaron Phillips" userId="32c2824c-cf66-481e-8ea0-c7c34b9b613f" providerId="ADAL" clId="{00F31AC4-1965-48BA-9FB8-CB307B127CFD}" dt="2020-06-19T15:30:37.548" v="41" actId="14100"/>
          <ac:grpSpMkLst>
            <pc:docMk/>
            <pc:sldMk cId="2052197555" sldId="282"/>
            <ac:grpSpMk id="46" creationId="{91F9F280-442A-4B23-807B-A7F6727AC605}"/>
          </ac:grpSpMkLst>
        </pc:grpChg>
        <pc:grpChg chg="add del mod">
          <ac:chgData name="Aaron Phillips" userId="32c2824c-cf66-481e-8ea0-c7c34b9b613f" providerId="ADAL" clId="{00F31AC4-1965-48BA-9FB8-CB307B127CFD}" dt="2020-06-19T15:57:23.758" v="356" actId="478"/>
          <ac:grpSpMkLst>
            <pc:docMk/>
            <pc:sldMk cId="2052197555" sldId="282"/>
            <ac:grpSpMk id="49" creationId="{4E00DC56-3E94-43DF-B037-B8FA2EE3E459}"/>
          </ac:grpSpMkLst>
        </pc:grpChg>
        <pc:grpChg chg="add mod">
          <ac:chgData name="Aaron Phillips" userId="32c2824c-cf66-481e-8ea0-c7c34b9b613f" providerId="ADAL" clId="{00F31AC4-1965-48BA-9FB8-CB307B127CFD}" dt="2020-06-19T15:57:23.974" v="357"/>
          <ac:grpSpMkLst>
            <pc:docMk/>
            <pc:sldMk cId="2052197555" sldId="282"/>
            <ac:grpSpMk id="57" creationId="{85F6285A-9489-4886-A5A1-ACA7CF996991}"/>
          </ac:grpSpMkLst>
        </pc:grpChg>
        <pc:grpChg chg="mod">
          <ac:chgData name="Aaron Phillips" userId="32c2824c-cf66-481e-8ea0-c7c34b9b613f" providerId="ADAL" clId="{00F31AC4-1965-48BA-9FB8-CB307B127CFD}" dt="2020-06-19T15:30:37.548" v="41" actId="14100"/>
          <ac:grpSpMkLst>
            <pc:docMk/>
            <pc:sldMk cId="2052197555" sldId="282"/>
            <ac:grpSpMk id="72" creationId="{F27138C2-7ABB-447D-A846-A68390468243}"/>
          </ac:grpSpMkLst>
        </pc:grpChg>
        <pc:grpChg chg="mod">
          <ac:chgData name="Aaron Phillips" userId="32c2824c-cf66-481e-8ea0-c7c34b9b613f" providerId="ADAL" clId="{00F31AC4-1965-48BA-9FB8-CB307B127CFD}" dt="2020-06-19T15:33:18.528" v="53" actId="1076"/>
          <ac:grpSpMkLst>
            <pc:docMk/>
            <pc:sldMk cId="2052197555" sldId="282"/>
            <ac:grpSpMk id="105" creationId="{2F4358CE-8823-4086-9951-0BA455739ED0}"/>
          </ac:grpSpMkLst>
        </pc:grpChg>
        <pc:grpChg chg="mod">
          <ac:chgData name="Aaron Phillips" userId="32c2824c-cf66-481e-8ea0-c7c34b9b613f" providerId="ADAL" clId="{00F31AC4-1965-48BA-9FB8-CB307B127CFD}" dt="2020-06-19T15:33:18.528" v="53" actId="1076"/>
          <ac:grpSpMkLst>
            <pc:docMk/>
            <pc:sldMk cId="2052197555" sldId="282"/>
            <ac:grpSpMk id="108" creationId="{9F658A40-9469-4F72-921D-E59B14072269}"/>
          </ac:grpSpMkLst>
        </pc:grpChg>
        <pc:grpChg chg="mod">
          <ac:chgData name="Aaron Phillips" userId="32c2824c-cf66-481e-8ea0-c7c34b9b613f" providerId="ADAL" clId="{00F31AC4-1965-48BA-9FB8-CB307B127CFD}" dt="2020-06-19T15:33:18.528" v="53" actId="1076"/>
          <ac:grpSpMkLst>
            <pc:docMk/>
            <pc:sldMk cId="2052197555" sldId="282"/>
            <ac:grpSpMk id="111" creationId="{3FCE97D7-4672-467B-86A0-091E1CEF591D}"/>
          </ac:grpSpMkLst>
        </pc:grpChg>
      </pc:sldChg>
      <pc:sldChg chg="addSp delSp modSp add del mod ord">
        <pc:chgData name="Aaron Phillips" userId="32c2824c-cf66-481e-8ea0-c7c34b9b613f" providerId="ADAL" clId="{00F31AC4-1965-48BA-9FB8-CB307B127CFD}" dt="2020-06-19T15:49:28.767" v="267" actId="47"/>
        <pc:sldMkLst>
          <pc:docMk/>
          <pc:sldMk cId="2495756560" sldId="283"/>
        </pc:sldMkLst>
        <pc:spChg chg="mod">
          <ac:chgData name="Aaron Phillips" userId="32c2824c-cf66-481e-8ea0-c7c34b9b613f" providerId="ADAL" clId="{00F31AC4-1965-48BA-9FB8-CB307B127CFD}" dt="2020-06-19T15:48:38.838" v="260" actId="20577"/>
          <ac:spMkLst>
            <pc:docMk/>
            <pc:sldMk cId="2495756560" sldId="283"/>
            <ac:spMk id="2" creationId="{0F7AEB20-BF3B-43B3-9213-FF45F4EA6BB7}"/>
          </ac:spMkLst>
        </pc:spChg>
        <pc:spChg chg="add del mod">
          <ac:chgData name="Aaron Phillips" userId="32c2824c-cf66-481e-8ea0-c7c34b9b613f" providerId="ADAL" clId="{00F31AC4-1965-48BA-9FB8-CB307B127CFD}" dt="2020-06-19T15:43:24.423" v="159" actId="478"/>
          <ac:spMkLst>
            <pc:docMk/>
            <pc:sldMk cId="2495756560" sldId="283"/>
            <ac:spMk id="5" creationId="{882A0BE6-479F-43E2-B7D8-1B810167C033}"/>
          </ac:spMkLst>
        </pc:spChg>
        <pc:spChg chg="add del mod">
          <ac:chgData name="Aaron Phillips" userId="32c2824c-cf66-481e-8ea0-c7c34b9b613f" providerId="ADAL" clId="{00F31AC4-1965-48BA-9FB8-CB307B127CFD}" dt="2020-06-19T15:42:11.652" v="155" actId="478"/>
          <ac:spMkLst>
            <pc:docMk/>
            <pc:sldMk cId="2495756560" sldId="283"/>
            <ac:spMk id="49" creationId="{BA52D229-0252-49B7-8D5A-2E5355D1F99E}"/>
          </ac:spMkLst>
        </pc:spChg>
        <pc:spChg chg="add mod">
          <ac:chgData name="Aaron Phillips" userId="32c2824c-cf66-481e-8ea0-c7c34b9b613f" providerId="ADAL" clId="{00F31AC4-1965-48BA-9FB8-CB307B127CFD}" dt="2020-06-19T15:48:43.856" v="261" actId="164"/>
          <ac:spMkLst>
            <pc:docMk/>
            <pc:sldMk cId="2495756560" sldId="283"/>
            <ac:spMk id="50" creationId="{2029E34B-3960-4D4B-8290-E35E70F89F65}"/>
          </ac:spMkLst>
        </pc:spChg>
        <pc:spChg chg="add mod">
          <ac:chgData name="Aaron Phillips" userId="32c2824c-cf66-481e-8ea0-c7c34b9b613f" providerId="ADAL" clId="{00F31AC4-1965-48BA-9FB8-CB307B127CFD}" dt="2020-06-19T15:48:43.856" v="261" actId="164"/>
          <ac:spMkLst>
            <pc:docMk/>
            <pc:sldMk cId="2495756560" sldId="283"/>
            <ac:spMk id="51" creationId="{F29A6318-8CC8-4E74-9B2E-A09EB64C0FD9}"/>
          </ac:spMkLst>
        </pc:spChg>
        <pc:spChg chg="add mod">
          <ac:chgData name="Aaron Phillips" userId="32c2824c-cf66-481e-8ea0-c7c34b9b613f" providerId="ADAL" clId="{00F31AC4-1965-48BA-9FB8-CB307B127CFD}" dt="2020-06-19T15:48:43.856" v="261" actId="164"/>
          <ac:spMkLst>
            <pc:docMk/>
            <pc:sldMk cId="2495756560" sldId="283"/>
            <ac:spMk id="52" creationId="{D8B17EA4-B5B6-44D1-8C6F-7B0B3DAFF5B8}"/>
          </ac:spMkLst>
        </pc:spChg>
        <pc:spChg chg="mod">
          <ac:chgData name="Aaron Phillips" userId="32c2824c-cf66-481e-8ea0-c7c34b9b613f" providerId="ADAL" clId="{00F31AC4-1965-48BA-9FB8-CB307B127CFD}" dt="2020-06-19T15:48:43.856" v="261" actId="164"/>
          <ac:spMkLst>
            <pc:docMk/>
            <pc:sldMk cId="2495756560" sldId="283"/>
            <ac:spMk id="65" creationId="{8032CE0B-9384-459C-B6BF-5CDC5C0CC16A}"/>
          </ac:spMkLst>
        </pc:spChg>
        <pc:spChg chg="mod">
          <ac:chgData name="Aaron Phillips" userId="32c2824c-cf66-481e-8ea0-c7c34b9b613f" providerId="ADAL" clId="{00F31AC4-1965-48BA-9FB8-CB307B127CFD}" dt="2020-06-19T15:48:43.856" v="261" actId="164"/>
          <ac:spMkLst>
            <pc:docMk/>
            <pc:sldMk cId="2495756560" sldId="283"/>
            <ac:spMk id="66" creationId="{2EB87F06-445D-4ADC-AB14-8340F621B41A}"/>
          </ac:spMkLst>
        </pc:spChg>
        <pc:spChg chg="del mod">
          <ac:chgData name="Aaron Phillips" userId="32c2824c-cf66-481e-8ea0-c7c34b9b613f" providerId="ADAL" clId="{00F31AC4-1965-48BA-9FB8-CB307B127CFD}" dt="2020-06-19T15:41:32.791" v="145" actId="478"/>
          <ac:spMkLst>
            <pc:docMk/>
            <pc:sldMk cId="2495756560" sldId="283"/>
            <ac:spMk id="67" creationId="{53854156-69B4-4935-BA02-14F263CE4E5E}"/>
          </ac:spMkLst>
        </pc:spChg>
        <pc:spChg chg="del mod">
          <ac:chgData name="Aaron Phillips" userId="32c2824c-cf66-481e-8ea0-c7c34b9b613f" providerId="ADAL" clId="{00F31AC4-1965-48BA-9FB8-CB307B127CFD}" dt="2020-06-19T15:37:07.222" v="106" actId="478"/>
          <ac:spMkLst>
            <pc:docMk/>
            <pc:sldMk cId="2495756560" sldId="283"/>
            <ac:spMk id="68" creationId="{67038354-6DE1-4190-8A5B-28EEC1F0FE92}"/>
          </ac:spMkLst>
        </pc:spChg>
        <pc:spChg chg="del mod">
          <ac:chgData name="Aaron Phillips" userId="32c2824c-cf66-481e-8ea0-c7c34b9b613f" providerId="ADAL" clId="{00F31AC4-1965-48BA-9FB8-CB307B127CFD}" dt="2020-06-19T15:41:53.198" v="148" actId="478"/>
          <ac:spMkLst>
            <pc:docMk/>
            <pc:sldMk cId="2495756560" sldId="283"/>
            <ac:spMk id="69" creationId="{B3C06629-4D5C-4A73-9EB7-1FBEA331B2CD}"/>
          </ac:spMkLst>
        </pc:spChg>
        <pc:spChg chg="del">
          <ac:chgData name="Aaron Phillips" userId="32c2824c-cf66-481e-8ea0-c7c34b9b613f" providerId="ADAL" clId="{00F31AC4-1965-48BA-9FB8-CB307B127CFD}" dt="2020-06-19T15:43:34.298" v="162" actId="478"/>
          <ac:spMkLst>
            <pc:docMk/>
            <pc:sldMk cId="2495756560" sldId="283"/>
            <ac:spMk id="104" creationId="{802EAA29-E956-4D94-9771-1BCEA6BCAFA4}"/>
          </ac:spMkLst>
        </pc:spChg>
        <pc:grpChg chg="del">
          <ac:chgData name="Aaron Phillips" userId="32c2824c-cf66-481e-8ea0-c7c34b9b613f" providerId="ADAL" clId="{00F31AC4-1965-48BA-9FB8-CB307B127CFD}" dt="2020-06-19T15:43:34.298" v="162" actId="478"/>
          <ac:grpSpMkLst>
            <pc:docMk/>
            <pc:sldMk cId="2495756560" sldId="283"/>
            <ac:grpSpMk id="4" creationId="{4CF4D37E-3CBB-4220-873D-AAEAB149DFB2}"/>
          </ac:grpSpMkLst>
        </pc:grpChg>
        <pc:grpChg chg="add del mod">
          <ac:chgData name="Aaron Phillips" userId="32c2824c-cf66-481e-8ea0-c7c34b9b613f" providerId="ADAL" clId="{00F31AC4-1965-48BA-9FB8-CB307B127CFD}" dt="2020-06-19T15:49:15.431" v="264" actId="21"/>
          <ac:grpSpMkLst>
            <pc:docMk/>
            <pc:sldMk cId="2495756560" sldId="283"/>
            <ac:grpSpMk id="6" creationId="{DC0B3652-DADE-4700-99F3-192C48743CA8}"/>
          </ac:grpSpMkLst>
        </pc:grpChg>
        <pc:grpChg chg="del">
          <ac:chgData name="Aaron Phillips" userId="32c2824c-cf66-481e-8ea0-c7c34b9b613f" providerId="ADAL" clId="{00F31AC4-1965-48BA-9FB8-CB307B127CFD}" dt="2020-06-19T15:43:34.298" v="162" actId="478"/>
          <ac:grpSpMkLst>
            <pc:docMk/>
            <pc:sldMk cId="2495756560" sldId="283"/>
            <ac:grpSpMk id="9" creationId="{0BB42B05-2654-4B1D-8043-4594B8D5222F}"/>
          </ac:grpSpMkLst>
        </pc:grpChg>
        <pc:grpChg chg="del">
          <ac:chgData name="Aaron Phillips" userId="32c2824c-cf66-481e-8ea0-c7c34b9b613f" providerId="ADAL" clId="{00F31AC4-1965-48BA-9FB8-CB307B127CFD}" dt="2020-06-19T15:43:34.298" v="162" actId="478"/>
          <ac:grpSpMkLst>
            <pc:docMk/>
            <pc:sldMk cId="2495756560" sldId="283"/>
            <ac:grpSpMk id="15" creationId="{35BAD743-F7F2-4B79-B95F-B28173ABB9CB}"/>
          </ac:grpSpMkLst>
        </pc:grpChg>
        <pc:grpChg chg="mod">
          <ac:chgData name="Aaron Phillips" userId="32c2824c-cf66-481e-8ea0-c7c34b9b613f" providerId="ADAL" clId="{00F31AC4-1965-48BA-9FB8-CB307B127CFD}" dt="2020-06-19T15:48:35.704" v="254" actId="1076"/>
          <ac:grpSpMkLst>
            <pc:docMk/>
            <pc:sldMk cId="2495756560" sldId="283"/>
            <ac:grpSpMk id="46" creationId="{91F9F280-442A-4B23-807B-A7F6727AC605}"/>
          </ac:grpSpMkLst>
        </pc:grpChg>
        <pc:grpChg chg="del">
          <ac:chgData name="Aaron Phillips" userId="32c2824c-cf66-481e-8ea0-c7c34b9b613f" providerId="ADAL" clId="{00F31AC4-1965-48BA-9FB8-CB307B127CFD}" dt="2020-06-19T15:43:34.298" v="162" actId="478"/>
          <ac:grpSpMkLst>
            <pc:docMk/>
            <pc:sldMk cId="2495756560" sldId="283"/>
            <ac:grpSpMk id="72" creationId="{F27138C2-7ABB-447D-A846-A68390468243}"/>
          </ac:grpSpMkLst>
        </pc:grpChg>
        <pc:grpChg chg="del">
          <ac:chgData name="Aaron Phillips" userId="32c2824c-cf66-481e-8ea0-c7c34b9b613f" providerId="ADAL" clId="{00F31AC4-1965-48BA-9FB8-CB307B127CFD}" dt="2020-06-19T15:43:34.298" v="162" actId="478"/>
          <ac:grpSpMkLst>
            <pc:docMk/>
            <pc:sldMk cId="2495756560" sldId="283"/>
            <ac:grpSpMk id="105" creationId="{2F4358CE-8823-4086-9951-0BA455739ED0}"/>
          </ac:grpSpMkLst>
        </pc:grpChg>
        <pc:grpChg chg="del">
          <ac:chgData name="Aaron Phillips" userId="32c2824c-cf66-481e-8ea0-c7c34b9b613f" providerId="ADAL" clId="{00F31AC4-1965-48BA-9FB8-CB307B127CFD}" dt="2020-06-19T15:43:34.298" v="162" actId="478"/>
          <ac:grpSpMkLst>
            <pc:docMk/>
            <pc:sldMk cId="2495756560" sldId="283"/>
            <ac:grpSpMk id="108" creationId="{9F658A40-9469-4F72-921D-E59B14072269}"/>
          </ac:grpSpMkLst>
        </pc:grpChg>
        <pc:grpChg chg="del">
          <ac:chgData name="Aaron Phillips" userId="32c2824c-cf66-481e-8ea0-c7c34b9b613f" providerId="ADAL" clId="{00F31AC4-1965-48BA-9FB8-CB307B127CFD}" dt="2020-06-19T15:43:34.298" v="162" actId="478"/>
          <ac:grpSpMkLst>
            <pc:docMk/>
            <pc:sldMk cId="2495756560" sldId="283"/>
            <ac:grpSpMk id="111" creationId="{3FCE97D7-4672-467B-86A0-091E1CEF591D}"/>
          </ac:grpSpMkLst>
        </pc:grpChg>
      </pc:sldChg>
      <pc:sldChg chg="addSp delSp modSp add mod">
        <pc:chgData name="Aaron Phillips" userId="32c2824c-cf66-481e-8ea0-c7c34b9b613f" providerId="ADAL" clId="{00F31AC4-1965-48BA-9FB8-CB307B127CFD}" dt="2020-06-19T15:59:08.754" v="449" actId="1076"/>
        <pc:sldMkLst>
          <pc:docMk/>
          <pc:sldMk cId="863348944" sldId="284"/>
        </pc:sldMkLst>
        <pc:spChg chg="mod">
          <ac:chgData name="Aaron Phillips" userId="32c2824c-cf66-481e-8ea0-c7c34b9b613f" providerId="ADAL" clId="{00F31AC4-1965-48BA-9FB8-CB307B127CFD}" dt="2020-06-19T15:59:00.012" v="448" actId="20577"/>
          <ac:spMkLst>
            <pc:docMk/>
            <pc:sldMk cId="863348944" sldId="284"/>
            <ac:spMk id="9" creationId="{708E589A-8728-4539-9315-6F5AD0F8A104}"/>
          </ac:spMkLst>
        </pc:spChg>
        <pc:spChg chg="mod">
          <ac:chgData name="Aaron Phillips" userId="32c2824c-cf66-481e-8ea0-c7c34b9b613f" providerId="ADAL" clId="{00F31AC4-1965-48BA-9FB8-CB307B127CFD}" dt="2020-06-19T15:49:17.261" v="265"/>
          <ac:spMkLst>
            <pc:docMk/>
            <pc:sldMk cId="863348944" sldId="284"/>
            <ac:spMk id="12" creationId="{FD6E647D-337C-45A8-9267-06D48BAFAD05}"/>
          </ac:spMkLst>
        </pc:spChg>
        <pc:spChg chg="mod">
          <ac:chgData name="Aaron Phillips" userId="32c2824c-cf66-481e-8ea0-c7c34b9b613f" providerId="ADAL" clId="{00F31AC4-1965-48BA-9FB8-CB307B127CFD}" dt="2020-06-19T15:49:37.247" v="268" actId="164"/>
          <ac:spMkLst>
            <pc:docMk/>
            <pc:sldMk cId="863348944" sldId="284"/>
            <ac:spMk id="13" creationId="{D11EF610-3F4F-42B2-B249-BFA6824B4BCF}"/>
          </ac:spMkLst>
        </pc:spChg>
        <pc:spChg chg="mod">
          <ac:chgData name="Aaron Phillips" userId="32c2824c-cf66-481e-8ea0-c7c34b9b613f" providerId="ADAL" clId="{00F31AC4-1965-48BA-9FB8-CB307B127CFD}" dt="2020-06-19T15:49:37.247" v="268" actId="164"/>
          <ac:spMkLst>
            <pc:docMk/>
            <pc:sldMk cId="863348944" sldId="284"/>
            <ac:spMk id="14" creationId="{5F09AC40-252E-4AD0-B3B1-C40F875659FD}"/>
          </ac:spMkLst>
        </pc:spChg>
        <pc:spChg chg="mod">
          <ac:chgData name="Aaron Phillips" userId="32c2824c-cf66-481e-8ea0-c7c34b9b613f" providerId="ADAL" clId="{00F31AC4-1965-48BA-9FB8-CB307B127CFD}" dt="2020-06-19T15:49:37.247" v="268" actId="164"/>
          <ac:spMkLst>
            <pc:docMk/>
            <pc:sldMk cId="863348944" sldId="284"/>
            <ac:spMk id="15" creationId="{9553E9F5-25DD-403C-9E68-832CEA2A186D}"/>
          </ac:spMkLst>
        </pc:spChg>
        <pc:spChg chg="mod">
          <ac:chgData name="Aaron Phillips" userId="32c2824c-cf66-481e-8ea0-c7c34b9b613f" providerId="ADAL" clId="{00F31AC4-1965-48BA-9FB8-CB307B127CFD}" dt="2020-06-19T15:49:37.247" v="268" actId="164"/>
          <ac:spMkLst>
            <pc:docMk/>
            <pc:sldMk cId="863348944" sldId="284"/>
            <ac:spMk id="17" creationId="{835CDF5B-888A-4FC4-9661-27D317AEB218}"/>
          </ac:spMkLst>
        </pc:spChg>
        <pc:spChg chg="mod">
          <ac:chgData name="Aaron Phillips" userId="32c2824c-cf66-481e-8ea0-c7c34b9b613f" providerId="ADAL" clId="{00F31AC4-1965-48BA-9FB8-CB307B127CFD}" dt="2020-06-19T15:49:37.247" v="268" actId="164"/>
          <ac:spMkLst>
            <pc:docMk/>
            <pc:sldMk cId="863348944" sldId="284"/>
            <ac:spMk id="18" creationId="{E5CDF1BD-98A7-4C83-8371-409AED6859FA}"/>
          </ac:spMkLst>
        </pc:spChg>
        <pc:spChg chg="mod">
          <ac:chgData name="Aaron Phillips" userId="32c2824c-cf66-481e-8ea0-c7c34b9b613f" providerId="ADAL" clId="{00F31AC4-1965-48BA-9FB8-CB307B127CFD}" dt="2020-06-19T15:49:17.261" v="265"/>
          <ac:spMkLst>
            <pc:docMk/>
            <pc:sldMk cId="863348944" sldId="284"/>
            <ac:spMk id="19" creationId="{BB08BD06-28A2-492A-8BE0-E4F8B0325C5F}"/>
          </ac:spMkLst>
        </pc:spChg>
        <pc:spChg chg="mod">
          <ac:chgData name="Aaron Phillips" userId="32c2824c-cf66-481e-8ea0-c7c34b9b613f" providerId="ADAL" clId="{00F31AC4-1965-48BA-9FB8-CB307B127CFD}" dt="2020-06-19T15:49:17.261" v="265"/>
          <ac:spMkLst>
            <pc:docMk/>
            <pc:sldMk cId="863348944" sldId="284"/>
            <ac:spMk id="20" creationId="{CE5D66D7-B450-409F-A97C-2CD96E069EF2}"/>
          </ac:spMkLst>
        </pc:spChg>
        <pc:spChg chg="mod">
          <ac:chgData name="Aaron Phillips" userId="32c2824c-cf66-481e-8ea0-c7c34b9b613f" providerId="ADAL" clId="{00F31AC4-1965-48BA-9FB8-CB307B127CFD}" dt="2020-06-19T15:49:17.261" v="265"/>
          <ac:spMkLst>
            <pc:docMk/>
            <pc:sldMk cId="863348944" sldId="284"/>
            <ac:spMk id="21" creationId="{3B33CFED-B557-4826-BBDE-CA9FB6829D1F}"/>
          </ac:spMkLst>
        </pc:spChg>
        <pc:spChg chg="mod">
          <ac:chgData name="Aaron Phillips" userId="32c2824c-cf66-481e-8ea0-c7c34b9b613f" providerId="ADAL" clId="{00F31AC4-1965-48BA-9FB8-CB307B127CFD}" dt="2020-06-19T15:49:17.261" v="265"/>
          <ac:spMkLst>
            <pc:docMk/>
            <pc:sldMk cId="863348944" sldId="284"/>
            <ac:spMk id="22" creationId="{03E3A743-169A-4747-ABDC-175ACFD5B8B6}"/>
          </ac:spMkLst>
        </pc:spChg>
        <pc:grpChg chg="add mod">
          <ac:chgData name="Aaron Phillips" userId="32c2824c-cf66-481e-8ea0-c7c34b9b613f" providerId="ADAL" clId="{00F31AC4-1965-48BA-9FB8-CB307B127CFD}" dt="2020-06-19T15:56:07.680" v="344" actId="1076"/>
          <ac:grpSpMkLst>
            <pc:docMk/>
            <pc:sldMk cId="863348944" sldId="284"/>
            <ac:grpSpMk id="2" creationId="{E6ACE1C1-1272-42C5-9D40-EA1425BB0B22}"/>
          </ac:grpSpMkLst>
        </pc:grpChg>
        <pc:grpChg chg="add mod">
          <ac:chgData name="Aaron Phillips" userId="32c2824c-cf66-481e-8ea0-c7c34b9b613f" providerId="ADAL" clId="{00F31AC4-1965-48BA-9FB8-CB307B127CFD}" dt="2020-06-19T15:59:08.754" v="449" actId="1076"/>
          <ac:grpSpMkLst>
            <pc:docMk/>
            <pc:sldMk cId="863348944" sldId="284"/>
            <ac:grpSpMk id="10" creationId="{7C0C3F74-351E-4EB8-8BEF-B6335D8F6D80}"/>
          </ac:grpSpMkLst>
        </pc:grpChg>
        <pc:graphicFrameChg chg="del mod">
          <ac:chgData name="Aaron Phillips" userId="32c2824c-cf66-481e-8ea0-c7c34b9b613f" providerId="ADAL" clId="{00F31AC4-1965-48BA-9FB8-CB307B127CFD}" dt="2020-06-19T15:56:03.880" v="343" actId="478"/>
          <ac:graphicFrameMkLst>
            <pc:docMk/>
            <pc:sldMk cId="863348944" sldId="284"/>
            <ac:graphicFrameMk id="16" creationId="{95A9E206-FB15-4667-9113-816A13A24F45}"/>
          </ac:graphicFrameMkLst>
        </pc:graphicFrameChg>
      </pc:sldChg>
    </pc:docChg>
  </pc:docChgLst>
  <pc:docChgLst>
    <pc:chgData name="Martin" userId="ea0ffabd-6e24-478b-b98a-da5441cb6906" providerId="ADAL" clId="{24F1DE04-098D-4C3C-905A-0D5CC9410F15}"/>
    <pc:docChg chg="modSld">
      <pc:chgData name="Martin" userId="ea0ffabd-6e24-478b-b98a-da5441cb6906" providerId="ADAL" clId="{24F1DE04-098D-4C3C-905A-0D5CC9410F15}" dt="2020-06-19T15:11:49.396" v="0" actId="6549"/>
      <pc:docMkLst>
        <pc:docMk/>
      </pc:docMkLst>
      <pc:sldChg chg="modSp mod">
        <pc:chgData name="Martin" userId="ea0ffabd-6e24-478b-b98a-da5441cb6906" providerId="ADAL" clId="{24F1DE04-098D-4C3C-905A-0D5CC9410F15}" dt="2020-06-19T15:11:49.396" v="0" actId="6549"/>
        <pc:sldMkLst>
          <pc:docMk/>
          <pc:sldMk cId="109857222" sldId="256"/>
        </pc:sldMkLst>
        <pc:spChg chg="mod">
          <ac:chgData name="Martin" userId="ea0ffabd-6e24-478b-b98a-da5441cb6906" providerId="ADAL" clId="{24F1DE04-098D-4C3C-905A-0D5CC9410F15}" dt="2020-06-19T15:11:49.396" v="0" actId="6549"/>
          <ac:spMkLst>
            <pc:docMk/>
            <pc:sldMk cId="109857222" sldId="256"/>
            <ac:spMk id="4" creationId="{2CE66A7F-853A-46B2-8102-21446A75614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BF96CC-21E3-43E5-875E-918F575014D2}" type="datetimeFigureOut">
              <a:rPr lang="en-US" smtClean="0"/>
              <a:t>12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1FFA39-DA82-4CE2-A9C6-CF4AE2D843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443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1FFA39-DA82-4CE2-A9C6-CF4AE2D843B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2305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1FFA39-DA82-4CE2-A9C6-CF4AE2D843B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895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Blank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358D172-752C-4680-9202-02D6D2C553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9585" y="5846293"/>
            <a:ext cx="1674361" cy="6309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C15071-0B0D-4C33-93FC-CE8D218E42F1}"/>
              </a:ext>
            </a:extLst>
          </p:cNvPr>
          <p:cNvCxnSpPr>
            <a:cxnSpLocks/>
          </p:cNvCxnSpPr>
          <p:nvPr/>
        </p:nvCxnSpPr>
        <p:spPr>
          <a:xfrm flipH="1">
            <a:off x="652463" y="5598647"/>
            <a:ext cx="11539537" cy="0"/>
          </a:xfrm>
          <a:prstGeom prst="line">
            <a:avLst/>
          </a:prstGeom>
          <a:ln w="50800">
            <a:solidFill>
              <a:srgbClr val="259A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4">
            <a:extLst>
              <a:ext uri="{FF2B5EF4-FFF2-40B4-BE49-F238E27FC236}">
                <a16:creationId xmlns:a16="http://schemas.microsoft.com/office/drawing/2014/main" id="{CBF3B081-A1BE-431B-86A2-54E28F384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463" y="3563596"/>
            <a:ext cx="5543238" cy="1164067"/>
          </a:xfrm>
        </p:spPr>
        <p:txBody>
          <a:bodyPr lIns="0" anchor="t" anchorCtr="0"/>
          <a:lstStyle>
            <a:lvl1pPr>
              <a:defRPr sz="4000" b="0">
                <a:solidFill>
                  <a:schemeClr val="bg1"/>
                </a:solidFill>
                <a:latin typeface="Franklin Gothic Demi" panose="020B0703020102020204" pitchFamily="34" charset="0"/>
              </a:defRPr>
            </a:lvl1pPr>
          </a:lstStyle>
          <a:p>
            <a:r>
              <a:rPr lang="en-US"/>
              <a:t>Click here to insert your title</a:t>
            </a:r>
            <a:endParaRPr lang="en-AU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5841AB3-2313-49A4-9B1E-DA2DDCA35C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462" y="4919663"/>
            <a:ext cx="8270031" cy="406400"/>
          </a:xfrm>
        </p:spPr>
        <p:txBody>
          <a:bodyPr lIns="0" anchor="t" anchorCtr="0"/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AU"/>
              <a:t>Click here to insert your sub-header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CC5568B0-7C07-47A9-B270-D3A1146021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463" y="5870501"/>
            <a:ext cx="5543238" cy="291260"/>
          </a:xfrm>
        </p:spPr>
        <p:txBody>
          <a:bodyPr lIns="0" anchor="t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/>
              <a:t>Click here to insert author’s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885446-E22E-492C-A2EE-5F71BD556F0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75" r="9259"/>
          <a:stretch/>
        </p:blipFill>
        <p:spPr>
          <a:xfrm>
            <a:off x="9222836" y="0"/>
            <a:ext cx="2969164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A16F2FE-0B3B-E549-A1DA-6DFEC2FAA2DD}"/>
              </a:ext>
            </a:extLst>
          </p:cNvPr>
          <p:cNvSpPr/>
          <p:nvPr/>
        </p:nvSpPr>
        <p:spPr>
          <a:xfrm>
            <a:off x="652462" y="2204357"/>
            <a:ext cx="2771620" cy="111034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LIENT LOGO</a:t>
            </a:r>
          </a:p>
        </p:txBody>
      </p:sp>
    </p:spTree>
    <p:extLst>
      <p:ext uri="{BB962C8B-B14F-4D97-AF65-F5344CB8AC3E}">
        <p14:creationId xmlns:p14="http://schemas.microsoft.com/office/powerpoint/2010/main" val="4169013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mplate with Sub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965" y="488061"/>
            <a:ext cx="11290071" cy="6379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header</a:t>
            </a: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4398531" y="6526217"/>
            <a:ext cx="3394940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Commercial in Confidence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© 2020  </a:t>
            </a: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|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 Reveal Group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928" y="1838632"/>
            <a:ext cx="5486882" cy="4289794"/>
          </a:xfrm>
        </p:spPr>
        <p:txBody>
          <a:bodyPr>
            <a:noAutofit/>
          </a:bodyPr>
          <a:lstStyle>
            <a:lvl1pPr marL="273050" indent="-273050">
              <a:defRPr/>
            </a:lvl1pPr>
            <a:lvl2pPr marL="539750" indent="-266700">
              <a:buFont typeface="Franklin Gothic Book" panose="020B0503020102020204" pitchFamily="34" charset="0"/>
              <a:buChar char="−"/>
              <a:defRPr/>
            </a:lvl2pPr>
            <a:lvl3pPr marL="808038" indent="-273050">
              <a:defRPr/>
            </a:lvl3pPr>
            <a:lvl4pPr marL="1079500" indent="-271463">
              <a:buFont typeface="Arial" panose="020B0604020202020204" pitchFamily="34" charset="0"/>
              <a:buChar char="•"/>
              <a:defRPr/>
            </a:lvl4pPr>
            <a:lvl5pPr marL="1343025" indent="-263525">
              <a:buFont typeface="Franklin Gothic Book" panose="020B0503020102020204" pitchFamily="34" charset="0"/>
              <a:buChar char="–"/>
              <a:defRPr/>
            </a:lvl5pPr>
          </a:lstStyle>
          <a:p>
            <a:pPr lvl="0"/>
            <a:r>
              <a:rPr lang="en-US"/>
              <a:t>Click here to inser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GB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342800" y="6550800"/>
            <a:ext cx="533924" cy="175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entury Gothic"/>
              </a:rPr>
              <a:t>|   </a:t>
            </a:r>
            <a:fld id="{4B869AD1-4810-4EBF-A621-167AF15205CA}" type="slidenum">
              <a:rPr lang="en-GB" sz="800" smtClean="0">
                <a:solidFill>
                  <a:schemeClr val="bg2"/>
                </a:solidFill>
                <a:latin typeface="+mn-l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2"/>
              </a:solidFill>
              <a:latin typeface="+mn-lt"/>
              <a:ea typeface="Franklin Gothic Book" charset="0"/>
              <a:cs typeface="Franklin Gothic Book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6A5872C-7843-43F8-9491-D9D5F1E4A739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254153" y="1838632"/>
            <a:ext cx="5486882" cy="4289794"/>
          </a:xfrm>
        </p:spPr>
        <p:txBody>
          <a:bodyPr>
            <a:noAutofit/>
          </a:bodyPr>
          <a:lstStyle>
            <a:lvl1pPr marL="273050" indent="-273050">
              <a:defRPr/>
            </a:lvl1pPr>
            <a:lvl2pPr marL="539750" indent="-266700">
              <a:buFont typeface="Franklin Gothic Book" panose="020B0503020102020204" pitchFamily="34" charset="0"/>
              <a:buChar char="−"/>
              <a:defRPr/>
            </a:lvl2pPr>
            <a:lvl3pPr marL="808038" indent="-273050">
              <a:defRPr/>
            </a:lvl3pPr>
            <a:lvl4pPr marL="1079500" indent="-271463">
              <a:buFont typeface="Arial" panose="020B0604020202020204" pitchFamily="34" charset="0"/>
              <a:buChar char="•"/>
              <a:defRPr/>
            </a:lvl4pPr>
            <a:lvl5pPr marL="1343025" indent="-263525">
              <a:buFont typeface="Franklin Gothic Book" panose="020B0503020102020204" pitchFamily="34" charset="0"/>
              <a:buChar char="–"/>
              <a:defRPr/>
            </a:lvl5pPr>
          </a:lstStyle>
          <a:p>
            <a:pPr lvl="0"/>
            <a:r>
              <a:rPr lang="en-US"/>
              <a:t>Click here to inser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A7C56D6-F6D5-4919-9DD0-A73270145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7677" y="1317139"/>
            <a:ext cx="11273359" cy="336564"/>
          </a:xfrm>
        </p:spPr>
        <p:txBody>
          <a:bodyPr/>
          <a:lstStyle>
            <a:lvl1pPr marL="0" indent="0" algn="ctr">
              <a:buNone/>
              <a:defRPr sz="1600" b="1">
                <a:solidFill>
                  <a:srgbClr val="42464A"/>
                </a:solidFill>
              </a:defRPr>
            </a:lvl1pPr>
          </a:lstStyle>
          <a:p>
            <a:pPr lvl="0"/>
            <a:r>
              <a:rPr lang="en-GB"/>
              <a:t>Click here to insert sub-head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82DDDA-2BA9-47CB-B211-3823CFDA23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691" y="6435029"/>
            <a:ext cx="880594" cy="318868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B8AF553D-22EF-4BA8-B25B-89177F7D1C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6970" y="6284069"/>
            <a:ext cx="3173046" cy="442537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363906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354E7AC-5C30-4787-9D9D-0E8F8D555F83}"/>
              </a:ext>
            </a:extLst>
          </p:cNvPr>
          <p:cNvSpPr txBox="1">
            <a:spLocks/>
          </p:cNvSpPr>
          <p:nvPr/>
        </p:nvSpPr>
        <p:spPr>
          <a:xfrm>
            <a:off x="11342800" y="6550800"/>
            <a:ext cx="533924" cy="175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entury Gothic"/>
              </a:rPr>
              <a:t>|   </a:t>
            </a:r>
            <a:fld id="{4B869AD1-4810-4EBF-A621-167AF15205CA}" type="slidenum">
              <a:rPr lang="en-GB" sz="800" smtClean="0">
                <a:solidFill>
                  <a:schemeClr val="bg2"/>
                </a:solidFill>
                <a:latin typeface="+mn-l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2"/>
              </a:solidFill>
              <a:latin typeface="+mn-lt"/>
              <a:ea typeface="Franklin Gothic Book" charset="0"/>
              <a:cs typeface="Franklin Gothic Book" charset="0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71A712-1385-4D76-B326-F231EE8EB1D2}"/>
              </a:ext>
            </a:extLst>
          </p:cNvPr>
          <p:cNvSpPr txBox="1">
            <a:spLocks/>
          </p:cNvSpPr>
          <p:nvPr/>
        </p:nvSpPr>
        <p:spPr>
          <a:xfrm>
            <a:off x="4398531" y="6526217"/>
            <a:ext cx="3394940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Commercial in Confidence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© 2020  </a:t>
            </a: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|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 Reveal Group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553F9AC-67A2-495A-BFED-6991D9E10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965" y="488061"/>
            <a:ext cx="11290071" cy="6379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head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C556B7E-9896-4269-8B35-DF5EE3E0301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691" y="6435029"/>
            <a:ext cx="880594" cy="318868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6757A7A-F6DB-4AB5-AF21-683DC9E977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6970" y="6284069"/>
            <a:ext cx="3173046" cy="442537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049904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https://revealgroup.com/wp-content/themes/revealgroup/images/logo.png">
            <a:extLst>
              <a:ext uri="{FF2B5EF4-FFF2-40B4-BE49-F238E27FC236}">
                <a16:creationId xmlns:a16="http://schemas.microsoft.com/office/drawing/2014/main" id="{92095178-DB54-4B04-9050-0422A3CF79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0255" y="2599614"/>
            <a:ext cx="4391489" cy="1658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68102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358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BluePrism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553D195C-AFB4-4719-82A8-046C486D02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9585" y="5846293"/>
            <a:ext cx="1674361" cy="6309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C15071-0B0D-4C33-93FC-CE8D218E42F1}"/>
              </a:ext>
            </a:extLst>
          </p:cNvPr>
          <p:cNvCxnSpPr>
            <a:cxnSpLocks/>
          </p:cNvCxnSpPr>
          <p:nvPr/>
        </p:nvCxnSpPr>
        <p:spPr>
          <a:xfrm flipH="1">
            <a:off x="652463" y="5598647"/>
            <a:ext cx="11539537" cy="0"/>
          </a:xfrm>
          <a:prstGeom prst="line">
            <a:avLst/>
          </a:prstGeom>
          <a:ln w="50800">
            <a:solidFill>
              <a:srgbClr val="259A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4">
            <a:extLst>
              <a:ext uri="{FF2B5EF4-FFF2-40B4-BE49-F238E27FC236}">
                <a16:creationId xmlns:a16="http://schemas.microsoft.com/office/drawing/2014/main" id="{CBF3B081-A1BE-431B-86A2-54E28F384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463" y="3563596"/>
            <a:ext cx="5543238" cy="1164067"/>
          </a:xfrm>
        </p:spPr>
        <p:txBody>
          <a:bodyPr lIns="0" anchor="t" anchorCtr="0"/>
          <a:lstStyle>
            <a:lvl1pPr>
              <a:defRPr sz="4000" b="0">
                <a:solidFill>
                  <a:schemeClr val="bg1"/>
                </a:solidFill>
                <a:latin typeface="Franklin Gothic Demi" panose="020B0703020102020204" pitchFamily="34" charset="0"/>
              </a:defRPr>
            </a:lvl1pPr>
          </a:lstStyle>
          <a:p>
            <a:r>
              <a:rPr lang="en-US"/>
              <a:t>Click here to insert your title</a:t>
            </a:r>
            <a:endParaRPr lang="en-AU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5841AB3-2313-49A4-9B1E-DA2DDCA35C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462" y="4919663"/>
            <a:ext cx="8270031" cy="406400"/>
          </a:xfrm>
        </p:spPr>
        <p:txBody>
          <a:bodyPr lIns="0" anchor="t" anchorCtr="0"/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AU"/>
              <a:t>Click here to insert your sub-header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CC5568B0-7C07-47A9-B270-D3A1146021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463" y="5870501"/>
            <a:ext cx="5543238" cy="291260"/>
          </a:xfrm>
        </p:spPr>
        <p:txBody>
          <a:bodyPr lIns="0" anchor="t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/>
              <a:t>Click here to insert author’s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885446-E22E-492C-A2EE-5F71BD556F0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75" r="9259"/>
          <a:stretch/>
        </p:blipFill>
        <p:spPr>
          <a:xfrm>
            <a:off x="9222836" y="0"/>
            <a:ext cx="2969164" cy="6858000"/>
          </a:xfrm>
          <a:prstGeom prst="rect">
            <a:avLst/>
          </a:prstGeom>
        </p:spPr>
      </p:pic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30E8E6F8-8B91-5647-87C6-01AEE928BEA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3414" y="5224535"/>
            <a:ext cx="1145807" cy="58054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98B8968-C78E-9843-9BE4-8AC19807E0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25529" y="5846043"/>
            <a:ext cx="2163777" cy="775900"/>
          </a:xfrm>
          <a:prstGeom prst="rect">
            <a:avLst/>
          </a:prstGeom>
        </p:spPr>
      </p:pic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B62C9D9C-DDF7-384A-BD3B-F9B40C20CB0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500" y="4909525"/>
            <a:ext cx="910872" cy="8563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040926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UiPath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849A8CEE-45CA-4E1B-B371-B9F9A6B227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9585" y="5846293"/>
            <a:ext cx="1674361" cy="6309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C15071-0B0D-4C33-93FC-CE8D218E42F1}"/>
              </a:ext>
            </a:extLst>
          </p:cNvPr>
          <p:cNvCxnSpPr>
            <a:cxnSpLocks/>
          </p:cNvCxnSpPr>
          <p:nvPr/>
        </p:nvCxnSpPr>
        <p:spPr>
          <a:xfrm flipH="1">
            <a:off x="652463" y="5598647"/>
            <a:ext cx="11539537" cy="0"/>
          </a:xfrm>
          <a:prstGeom prst="line">
            <a:avLst/>
          </a:prstGeom>
          <a:ln w="50800">
            <a:solidFill>
              <a:srgbClr val="259A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4">
            <a:extLst>
              <a:ext uri="{FF2B5EF4-FFF2-40B4-BE49-F238E27FC236}">
                <a16:creationId xmlns:a16="http://schemas.microsoft.com/office/drawing/2014/main" id="{CBF3B081-A1BE-431B-86A2-54E28F384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463" y="3563596"/>
            <a:ext cx="5543238" cy="1164067"/>
          </a:xfrm>
        </p:spPr>
        <p:txBody>
          <a:bodyPr lIns="0" anchor="t" anchorCtr="0"/>
          <a:lstStyle>
            <a:lvl1pPr>
              <a:defRPr sz="4000" b="0">
                <a:solidFill>
                  <a:schemeClr val="bg1"/>
                </a:solidFill>
                <a:latin typeface="Franklin Gothic Demi" panose="020B0703020102020204" pitchFamily="34" charset="0"/>
              </a:defRPr>
            </a:lvl1pPr>
          </a:lstStyle>
          <a:p>
            <a:r>
              <a:rPr lang="en-US"/>
              <a:t>Click here to insert your title</a:t>
            </a:r>
            <a:endParaRPr lang="en-AU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5841AB3-2313-49A4-9B1E-DA2DDCA35C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462" y="4919663"/>
            <a:ext cx="8270031" cy="406400"/>
          </a:xfrm>
        </p:spPr>
        <p:txBody>
          <a:bodyPr lIns="0" anchor="t" anchorCtr="0"/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AU"/>
              <a:t>Click here to insert your sub-header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CC5568B0-7C07-47A9-B270-D3A1146021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463" y="5870501"/>
            <a:ext cx="5543238" cy="291260"/>
          </a:xfrm>
        </p:spPr>
        <p:txBody>
          <a:bodyPr lIns="0" anchor="t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/>
              <a:t>Click here to insert author’s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885446-E22E-492C-A2EE-5F71BD556F0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75" r="9259"/>
          <a:stretch/>
        </p:blipFill>
        <p:spPr>
          <a:xfrm>
            <a:off x="9222836" y="0"/>
            <a:ext cx="296916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60EA132-FBEB-F748-8AE5-4A64388312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188" y="6033256"/>
            <a:ext cx="2438400" cy="52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95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_Agnostic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A1291E-1584-46AD-9853-11551BD15D7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9585" y="5846293"/>
            <a:ext cx="1674361" cy="6309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C15071-0B0D-4C33-93FC-CE8D218E42F1}"/>
              </a:ext>
            </a:extLst>
          </p:cNvPr>
          <p:cNvCxnSpPr>
            <a:cxnSpLocks/>
          </p:cNvCxnSpPr>
          <p:nvPr/>
        </p:nvCxnSpPr>
        <p:spPr>
          <a:xfrm flipH="1">
            <a:off x="652463" y="5598647"/>
            <a:ext cx="11539537" cy="0"/>
          </a:xfrm>
          <a:prstGeom prst="line">
            <a:avLst/>
          </a:prstGeom>
          <a:ln w="50800">
            <a:solidFill>
              <a:srgbClr val="259A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4">
            <a:extLst>
              <a:ext uri="{FF2B5EF4-FFF2-40B4-BE49-F238E27FC236}">
                <a16:creationId xmlns:a16="http://schemas.microsoft.com/office/drawing/2014/main" id="{CBF3B081-A1BE-431B-86A2-54E28F3846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463" y="3563596"/>
            <a:ext cx="5543238" cy="1164067"/>
          </a:xfrm>
        </p:spPr>
        <p:txBody>
          <a:bodyPr lIns="0" anchor="t" anchorCtr="0"/>
          <a:lstStyle>
            <a:lvl1pPr>
              <a:defRPr sz="4000" b="0">
                <a:solidFill>
                  <a:schemeClr val="bg1"/>
                </a:solidFill>
                <a:latin typeface="Franklin Gothic Demi" panose="020B0703020102020204" pitchFamily="34" charset="0"/>
              </a:defRPr>
            </a:lvl1pPr>
          </a:lstStyle>
          <a:p>
            <a:r>
              <a:rPr lang="en-US"/>
              <a:t>Click here to insert your title</a:t>
            </a:r>
            <a:endParaRPr lang="en-AU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5841AB3-2313-49A4-9B1E-DA2DDCA35C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462" y="4919663"/>
            <a:ext cx="8270031" cy="406400"/>
          </a:xfrm>
        </p:spPr>
        <p:txBody>
          <a:bodyPr lIns="0" anchor="t" anchorCtr="0"/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AU"/>
              <a:t>Click here to insert your sub-header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CC5568B0-7C07-47A9-B270-D3A1146021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463" y="5870501"/>
            <a:ext cx="5543238" cy="291260"/>
          </a:xfrm>
        </p:spPr>
        <p:txBody>
          <a:bodyPr lIns="0" anchor="t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/>
              <a:t>Click here to insert author’s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885446-E22E-492C-A2EE-5F71BD556F0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75" r="9259"/>
          <a:stretch/>
        </p:blipFill>
        <p:spPr>
          <a:xfrm>
            <a:off x="9222836" y="0"/>
            <a:ext cx="2969164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98B8968-C78E-9843-9BE4-8AC19807E0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48540" y="5210697"/>
            <a:ext cx="2163777" cy="7759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27B5F5C-459E-AB43-8069-FADE080DBB9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6526" y="4645778"/>
            <a:ext cx="2028309" cy="4366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F9160F5-F3E8-A046-93EE-EE26BE95B92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4494" y="6092099"/>
            <a:ext cx="1535043" cy="564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490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B4A2DE8-0DD1-4866-8D68-7FCD3B3AA1D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0" r="-146"/>
          <a:stretch/>
        </p:blipFill>
        <p:spPr>
          <a:xfrm>
            <a:off x="-18305" y="1"/>
            <a:ext cx="12279973" cy="687993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8165509-7AFB-4DD1-AF40-2EA721A8F31D}"/>
              </a:ext>
            </a:extLst>
          </p:cNvPr>
          <p:cNvSpPr/>
          <p:nvPr/>
        </p:nvSpPr>
        <p:spPr>
          <a:xfrm>
            <a:off x="-18305" y="0"/>
            <a:ext cx="8338285" cy="688917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rgbClr val="81828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12707A-A9A3-49B2-861A-B50B77F0392D}"/>
              </a:ext>
            </a:extLst>
          </p:cNvPr>
          <p:cNvSpPr/>
          <p:nvPr/>
        </p:nvSpPr>
        <p:spPr>
          <a:xfrm>
            <a:off x="1656889" y="2093399"/>
            <a:ext cx="4168775" cy="3878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2FC2978-78A7-4202-B345-490CF3FD7048}"/>
              </a:ext>
            </a:extLst>
          </p:cNvPr>
          <p:cNvSpPr/>
          <p:nvPr/>
        </p:nvSpPr>
        <p:spPr>
          <a:xfrm>
            <a:off x="152766" y="1306402"/>
            <a:ext cx="1897635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031626">
              <a:defRPr/>
            </a:pPr>
            <a:r>
              <a:rPr lang="en-US" sz="4000" b="0" kern="1200">
                <a:solidFill>
                  <a:srgbClr val="0084CC"/>
                </a:solidFill>
                <a:latin typeface="Franklin Gothic Demi" panose="020B0703020102020204" pitchFamily="34" charset="0"/>
                <a:ea typeface="+mj-ea"/>
                <a:cs typeface="+mj-cs"/>
              </a:rPr>
              <a:t>Agenda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2B07B53-6AE3-4D46-98AE-7F72D4D7D9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011" y="2244049"/>
            <a:ext cx="5673359" cy="3878262"/>
          </a:xfrm>
        </p:spPr>
        <p:txBody>
          <a:bodyPr/>
          <a:lstStyle>
            <a:lvl1pPr marL="342900" indent="-342900" algn="l" defTabSz="457200" rtl="0" eaLnBrk="1" latinLnBrk="0" hangingPunct="1">
              <a:spcAft>
                <a:spcPts val="400"/>
              </a:spcAft>
              <a:buClr>
                <a:schemeClr val="tx2"/>
              </a:buClr>
              <a:buAutoNum type="arabicPeriod"/>
              <a:defRPr lang="en-US" sz="1600" kern="1200" dirty="0" smtClean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1pPr>
            <a:lvl2pPr marL="342900" indent="-342900" algn="l" defTabSz="457200" rtl="0" eaLnBrk="1" latinLnBrk="0" hangingPunct="1">
              <a:spcAft>
                <a:spcPts val="400"/>
              </a:spcAft>
              <a:buClr>
                <a:schemeClr val="bg1"/>
              </a:buClr>
              <a:buAutoNum type="arabicPeriod"/>
              <a:defRPr lang="en-US" sz="1600" kern="1200" dirty="0" smtClean="0">
                <a:solidFill>
                  <a:schemeClr val="bg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342900" indent="-342900" algn="l" defTabSz="457200" rtl="0" eaLnBrk="1" latinLnBrk="0" hangingPunct="1">
              <a:spcAft>
                <a:spcPts val="400"/>
              </a:spcAft>
              <a:buClr>
                <a:schemeClr val="bg1"/>
              </a:buClr>
              <a:buAutoNum type="arabicPeriod"/>
              <a:defRPr lang="en-US" sz="1600" kern="1200" dirty="0" smtClean="0">
                <a:solidFill>
                  <a:schemeClr val="bg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342900" indent="-342900" algn="l" defTabSz="457200" rtl="0" eaLnBrk="1" latinLnBrk="0" hangingPunct="1">
              <a:spcAft>
                <a:spcPts val="400"/>
              </a:spcAft>
              <a:buClr>
                <a:schemeClr val="bg1"/>
              </a:buClr>
              <a:buAutoNum type="arabicPeriod"/>
              <a:defRPr lang="en-US" sz="1600" kern="1200" dirty="0" smtClean="0">
                <a:solidFill>
                  <a:schemeClr val="bg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342900" indent="-342900" algn="l" defTabSz="457200" rtl="0" eaLnBrk="1" latinLnBrk="0" hangingPunct="1">
              <a:spcAft>
                <a:spcPts val="400"/>
              </a:spcAft>
              <a:buClr>
                <a:schemeClr val="bg1"/>
              </a:buClr>
              <a:buAutoNum type="arabicPeriod"/>
              <a:defRPr lang="en-US" sz="1600" kern="1200" dirty="0">
                <a:solidFill>
                  <a:schemeClr val="bg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D5FA6F4-289F-4A5F-AA6D-08A378D14DF1}"/>
              </a:ext>
            </a:extLst>
          </p:cNvPr>
          <p:cNvCxnSpPr>
            <a:cxnSpLocks/>
          </p:cNvCxnSpPr>
          <p:nvPr/>
        </p:nvCxnSpPr>
        <p:spPr>
          <a:xfrm flipH="1">
            <a:off x="-18304" y="1938865"/>
            <a:ext cx="8338284" cy="0"/>
          </a:xfrm>
          <a:prstGeom prst="line">
            <a:avLst/>
          </a:prstGeom>
          <a:ln w="50800">
            <a:solidFill>
              <a:srgbClr val="0084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80214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solidFill>
          <a:srgbClr val="4242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4">
            <a:extLst>
              <a:ext uri="{FF2B5EF4-FFF2-40B4-BE49-F238E27FC236}">
                <a16:creationId xmlns:a16="http://schemas.microsoft.com/office/drawing/2014/main" id="{4C9E3E3E-484C-42DC-8540-69EA5DA0EB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463" y="3557188"/>
            <a:ext cx="7126515" cy="664029"/>
          </a:xfrm>
        </p:spPr>
        <p:txBody>
          <a:bodyPr lIns="0"/>
          <a:lstStyle>
            <a:lvl1pPr>
              <a:defRPr sz="4000" b="0">
                <a:solidFill>
                  <a:schemeClr val="bg1"/>
                </a:solidFill>
                <a:latin typeface="Franklin Gothic Demi" panose="020B0703020102020204" pitchFamily="34" charset="0"/>
              </a:defRPr>
            </a:lvl1pPr>
          </a:lstStyle>
          <a:p>
            <a:r>
              <a:rPr lang="en-US"/>
              <a:t>Click here to insert your topic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82A3F0D-6A06-43C1-A089-A44A6CB84B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463" y="4391843"/>
            <a:ext cx="10823257" cy="573265"/>
          </a:xfrm>
        </p:spPr>
        <p:txBody>
          <a:bodyPr lIns="0"/>
          <a:lstStyle>
            <a:lvl1pPr marL="0" indent="0">
              <a:buNone/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AU"/>
              <a:t>Click here to insert your sub-topic.</a:t>
            </a:r>
          </a:p>
        </p:txBody>
      </p:sp>
    </p:spTree>
    <p:extLst>
      <p:ext uri="{BB962C8B-B14F-4D97-AF65-F5344CB8AC3E}">
        <p14:creationId xmlns:p14="http://schemas.microsoft.com/office/powerpoint/2010/main" val="5329323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965" y="488061"/>
            <a:ext cx="11290071" cy="6379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header</a:t>
            </a: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4398531" y="6526217"/>
            <a:ext cx="3394940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Commercial in Confidence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© 2020  </a:t>
            </a: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|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 Reveal Group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8947" y="1356852"/>
            <a:ext cx="11274107" cy="4771574"/>
          </a:xfrm>
        </p:spPr>
        <p:txBody>
          <a:bodyPr>
            <a:noAutofit/>
          </a:bodyPr>
          <a:lstStyle>
            <a:lvl1pPr marL="273050" indent="-273050">
              <a:defRPr/>
            </a:lvl1pPr>
            <a:lvl2pPr marL="539750" indent="-266700">
              <a:buFont typeface="Franklin Gothic Book" panose="020B0503020102020204" pitchFamily="34" charset="0"/>
              <a:buChar char="−"/>
              <a:defRPr/>
            </a:lvl2pPr>
            <a:lvl3pPr marL="808038" indent="-273050">
              <a:defRPr/>
            </a:lvl3pPr>
            <a:lvl4pPr marL="1079500" indent="-271463">
              <a:buFont typeface="Arial" panose="020B0604020202020204" pitchFamily="34" charset="0"/>
              <a:buChar char="•"/>
              <a:defRPr/>
            </a:lvl4pPr>
            <a:lvl5pPr marL="1343025" indent="-263525">
              <a:buFont typeface="Franklin Gothic Book" panose="020B0503020102020204" pitchFamily="34" charset="0"/>
              <a:buChar char="–"/>
              <a:defRPr/>
            </a:lvl5pPr>
          </a:lstStyle>
          <a:p>
            <a:pPr lvl="0"/>
            <a:r>
              <a:rPr lang="en-US"/>
              <a:t>Click here to inser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6970" y="6284069"/>
            <a:ext cx="3173046" cy="442537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NOTES:</a:t>
            </a: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342800" y="6550800"/>
            <a:ext cx="533924" cy="175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entury Gothic"/>
              </a:rPr>
              <a:t>|   </a:t>
            </a:r>
            <a:fld id="{4B869AD1-4810-4EBF-A621-167AF15205CA}" type="slidenum">
              <a:rPr lang="en-GB" sz="800" smtClean="0">
                <a:solidFill>
                  <a:schemeClr val="bg2"/>
                </a:solidFill>
                <a:latin typeface="+mn-l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2"/>
              </a:solidFill>
              <a:latin typeface="+mn-lt"/>
              <a:ea typeface="Franklin Gothic Book" charset="0"/>
              <a:cs typeface="Franklin Gothic Book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EA5DD5E-46A1-487C-98EA-7D66C5EBC0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691" y="6435029"/>
            <a:ext cx="880594" cy="31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884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965" y="488061"/>
            <a:ext cx="11290071" cy="6379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header</a:t>
            </a: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4398531" y="6526217"/>
            <a:ext cx="3394940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Commercial in Confidence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© 2020  </a:t>
            </a: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|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 Reveal Group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928" y="1356852"/>
            <a:ext cx="5486882" cy="4771574"/>
          </a:xfrm>
        </p:spPr>
        <p:txBody>
          <a:bodyPr>
            <a:noAutofit/>
          </a:bodyPr>
          <a:lstStyle>
            <a:lvl1pPr marL="273050" indent="-273050">
              <a:defRPr/>
            </a:lvl1pPr>
            <a:lvl2pPr marL="539750" indent="-266700">
              <a:buFont typeface="Franklin Gothic Book" panose="020B0503020102020204" pitchFamily="34" charset="0"/>
              <a:buChar char="−"/>
              <a:defRPr/>
            </a:lvl2pPr>
            <a:lvl3pPr marL="808038" indent="-273050">
              <a:defRPr/>
            </a:lvl3pPr>
            <a:lvl4pPr marL="1079500" indent="-271463">
              <a:buFont typeface="Arial" panose="020B0604020202020204" pitchFamily="34" charset="0"/>
              <a:buChar char="•"/>
              <a:defRPr/>
            </a:lvl4pPr>
            <a:lvl5pPr marL="1343025" indent="-263525">
              <a:buFont typeface="Franklin Gothic Book" panose="020B0503020102020204" pitchFamily="34" charset="0"/>
              <a:buChar char="–"/>
              <a:defRPr/>
            </a:lvl5pPr>
          </a:lstStyle>
          <a:p>
            <a:pPr lvl="0"/>
            <a:r>
              <a:rPr lang="en-US"/>
              <a:t>Click here to inser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GB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342800" y="6550800"/>
            <a:ext cx="533924" cy="175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entury Gothic"/>
              </a:rPr>
              <a:t>|   </a:t>
            </a:r>
            <a:fld id="{4B869AD1-4810-4EBF-A621-167AF15205CA}" type="slidenum">
              <a:rPr lang="en-GB" sz="800" smtClean="0">
                <a:solidFill>
                  <a:schemeClr val="bg2"/>
                </a:solidFill>
                <a:latin typeface="+mn-l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2"/>
              </a:solidFill>
              <a:latin typeface="+mn-lt"/>
              <a:ea typeface="Franklin Gothic Book" charset="0"/>
              <a:cs typeface="Franklin Gothic Book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6A5872C-7843-43F8-9491-D9D5F1E4A739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254153" y="1356852"/>
            <a:ext cx="5486882" cy="4771574"/>
          </a:xfrm>
        </p:spPr>
        <p:txBody>
          <a:bodyPr>
            <a:noAutofit/>
          </a:bodyPr>
          <a:lstStyle>
            <a:lvl1pPr marL="273050" indent="-273050">
              <a:defRPr/>
            </a:lvl1pPr>
            <a:lvl2pPr marL="539750" indent="-266700">
              <a:buFont typeface="Franklin Gothic Book" panose="020B0503020102020204" pitchFamily="34" charset="0"/>
              <a:buChar char="−"/>
              <a:defRPr/>
            </a:lvl2pPr>
            <a:lvl3pPr marL="808038" indent="-273050">
              <a:defRPr/>
            </a:lvl3pPr>
            <a:lvl4pPr marL="1079500" indent="-271463">
              <a:buFont typeface="Arial" panose="020B0604020202020204" pitchFamily="34" charset="0"/>
              <a:buChar char="•"/>
              <a:defRPr/>
            </a:lvl4pPr>
            <a:lvl5pPr marL="1343025" indent="-263525">
              <a:buFont typeface="Franklin Gothic Book" panose="020B0503020102020204" pitchFamily="34" charset="0"/>
              <a:buChar char="–"/>
              <a:defRPr/>
            </a:lvl5pPr>
          </a:lstStyle>
          <a:p>
            <a:pPr lvl="0"/>
            <a:r>
              <a:rPr lang="en-US"/>
              <a:t>Click here to inser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AEB6043-CECA-49E2-A542-95FDE91B60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691" y="6435029"/>
            <a:ext cx="880594" cy="318868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7C8F6C9-6501-423E-97EE-D1EBB598C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6970" y="6284069"/>
            <a:ext cx="3173046" cy="442537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1297513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Template with Sub-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965" y="488061"/>
            <a:ext cx="11290071" cy="6379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here to insert header</a:t>
            </a: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4398531" y="6526217"/>
            <a:ext cx="3394940" cy="2154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Commercial in Confidence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© 2020  </a:t>
            </a:r>
            <a:r>
              <a:rPr lang="en-AU" sz="800" b="0" kern="1200">
                <a:solidFill>
                  <a:schemeClr val="bg2"/>
                </a:solidFill>
                <a:latin typeface="+mn-lt"/>
                <a:ea typeface="+mn-ea"/>
                <a:cs typeface="Century Gothic"/>
              </a:rPr>
              <a:t>| </a:t>
            </a:r>
            <a:r>
              <a:rPr lang="en-GB" sz="800">
                <a:solidFill>
                  <a:schemeClr val="bg2"/>
                </a:solidFill>
                <a:latin typeface="+mn-lt"/>
                <a:ea typeface="Franklin Gothic Book" charset="0"/>
                <a:cs typeface="Franklin Gothic Book" charset="0"/>
              </a:rPr>
              <a:t> Reveal Group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929" y="1838632"/>
            <a:ext cx="11274107" cy="4289794"/>
          </a:xfrm>
        </p:spPr>
        <p:txBody>
          <a:bodyPr>
            <a:noAutofit/>
          </a:bodyPr>
          <a:lstStyle>
            <a:lvl1pPr marL="273050" indent="-273050">
              <a:defRPr/>
            </a:lvl1pPr>
            <a:lvl2pPr marL="539750" indent="-266700">
              <a:buFont typeface="Franklin Gothic Book" panose="020B0503020102020204" pitchFamily="34" charset="0"/>
              <a:buChar char="−"/>
              <a:defRPr/>
            </a:lvl2pPr>
            <a:lvl3pPr marL="808038" indent="-273050">
              <a:defRPr/>
            </a:lvl3pPr>
            <a:lvl4pPr marL="1079500" indent="-271463">
              <a:buFont typeface="Arial" panose="020B0604020202020204" pitchFamily="34" charset="0"/>
              <a:buChar char="•"/>
              <a:defRPr/>
            </a:lvl4pPr>
            <a:lvl5pPr marL="1343025" indent="-263525">
              <a:buFont typeface="Franklin Gothic Book" panose="020B0503020102020204" pitchFamily="34" charset="0"/>
              <a:buChar char="–"/>
              <a:defRPr/>
            </a:lvl5pPr>
          </a:lstStyle>
          <a:p>
            <a:pPr lvl="0"/>
            <a:r>
              <a:rPr lang="en-US"/>
              <a:t>Click here to insert slide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GB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342800" y="6550800"/>
            <a:ext cx="533924" cy="1758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entury Gothic"/>
              </a:rPr>
              <a:t>|   </a:t>
            </a:r>
            <a:fld id="{4B869AD1-4810-4EBF-A621-167AF15205CA}" type="slidenum">
              <a:rPr lang="en-GB" sz="800" smtClean="0">
                <a:solidFill>
                  <a:schemeClr val="bg2"/>
                </a:solidFill>
                <a:latin typeface="+mn-l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800">
              <a:solidFill>
                <a:schemeClr val="bg2"/>
              </a:solidFill>
              <a:latin typeface="+mn-lt"/>
              <a:ea typeface="Franklin Gothic Book" charset="0"/>
              <a:cs typeface="Franklin Gothic Book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D77472D-08DB-4F45-816E-5A24B33F1F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7677" y="1317139"/>
            <a:ext cx="11273359" cy="336564"/>
          </a:xfrm>
        </p:spPr>
        <p:txBody>
          <a:bodyPr/>
          <a:lstStyle>
            <a:lvl1pPr marL="0" indent="0" algn="ctr">
              <a:buNone/>
              <a:defRPr sz="1600" b="1">
                <a:solidFill>
                  <a:srgbClr val="42464A"/>
                </a:solidFill>
              </a:defRPr>
            </a:lvl1pPr>
          </a:lstStyle>
          <a:p>
            <a:pPr lvl="0"/>
            <a:r>
              <a:rPr lang="en-GB"/>
              <a:t>Click here to insert sub-head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C1BAB52-496F-4873-9BAF-4CBD0A9B0D9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691" y="6435029"/>
            <a:ext cx="880594" cy="318868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2419589-68C5-48F7-8741-CD1CAE453C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6970" y="6284069"/>
            <a:ext cx="3173046" cy="442537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9786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4431" y="365129"/>
            <a:ext cx="11090030" cy="71860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431" y="1176867"/>
            <a:ext cx="11090030" cy="50524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443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2/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46585" y="6356353"/>
            <a:ext cx="533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2126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880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>
          <a:solidFill>
            <a:schemeClr val="tx2"/>
          </a:solidFill>
          <a:latin typeface="Franklin Gothic Medium" panose="020B0603020102020204" pitchFamily="34" charset="0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Franklin Gothic Book" panose="020B0503020102020204" pitchFamily="34" charset="0"/>
        <a:buChar char="●"/>
        <a:defRPr sz="1400" kern="1200">
          <a:solidFill>
            <a:srgbClr val="161617"/>
          </a:solidFill>
          <a:latin typeface="+mn-lt"/>
          <a:ea typeface="+mn-ea"/>
          <a:cs typeface="+mn-cs"/>
        </a:defRPr>
      </a:lvl1pPr>
      <a:lvl2pPr marL="53975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Franklin Gothic Book" panose="020B0503020102020204" pitchFamily="34" charset="0"/>
        <a:buChar char="−"/>
        <a:defRPr sz="1400" kern="1200">
          <a:solidFill>
            <a:srgbClr val="161617"/>
          </a:solidFill>
          <a:latin typeface="+mn-lt"/>
          <a:ea typeface="+mn-ea"/>
          <a:cs typeface="+mn-cs"/>
        </a:defRPr>
      </a:lvl2pPr>
      <a:lvl3pPr marL="808038" indent="-27305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ourier New" panose="02070309020205020404" pitchFamily="49" charset="0"/>
        <a:buChar char="o"/>
        <a:defRPr sz="1400" kern="1200">
          <a:solidFill>
            <a:srgbClr val="161617"/>
          </a:solidFill>
          <a:latin typeface="+mn-lt"/>
          <a:ea typeface="+mn-ea"/>
          <a:cs typeface="+mn-cs"/>
        </a:defRPr>
      </a:lvl3pPr>
      <a:lvl4pPr marL="1079500" indent="-271463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161617"/>
          </a:solidFill>
          <a:latin typeface="+mn-lt"/>
          <a:ea typeface="+mn-ea"/>
          <a:cs typeface="+mn-cs"/>
        </a:defRPr>
      </a:lvl4pPr>
      <a:lvl5pPr marL="1343025" indent="-263525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Franklin Gothic Book" panose="020B0503020102020204" pitchFamily="34" charset="0"/>
        <a:buChar char="–"/>
        <a:defRPr sz="1400" kern="1200">
          <a:solidFill>
            <a:srgbClr val="16161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18" Type="http://schemas.openxmlformats.org/officeDocument/2006/relationships/image" Target="../media/image24.svg"/><Relationship Id="rId26" Type="http://schemas.openxmlformats.org/officeDocument/2006/relationships/image" Target="../media/image32.sv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2" Type="http://schemas.openxmlformats.org/officeDocument/2006/relationships/tags" Target="../tags/tag8.xml"/><Relationship Id="rId16" Type="http://schemas.openxmlformats.org/officeDocument/2006/relationships/image" Target="../media/image22.svg"/><Relationship Id="rId20" Type="http://schemas.openxmlformats.org/officeDocument/2006/relationships/image" Target="../media/image26.svg"/><Relationship Id="rId29" Type="http://schemas.openxmlformats.org/officeDocument/2006/relationships/image" Target="../media/image35.png"/><Relationship Id="rId1" Type="http://schemas.openxmlformats.org/officeDocument/2006/relationships/tags" Target="../tags/tag7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24" Type="http://schemas.openxmlformats.org/officeDocument/2006/relationships/image" Target="../media/image30.svg"/><Relationship Id="rId32" Type="http://schemas.openxmlformats.org/officeDocument/2006/relationships/image" Target="../media/image38.sv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28" Type="http://schemas.openxmlformats.org/officeDocument/2006/relationships/image" Target="../media/image34.svg"/><Relationship Id="rId10" Type="http://schemas.openxmlformats.org/officeDocument/2006/relationships/image" Target="../media/image16.svg"/><Relationship Id="rId19" Type="http://schemas.openxmlformats.org/officeDocument/2006/relationships/image" Target="../media/image25.png"/><Relationship Id="rId31" Type="http://schemas.openxmlformats.org/officeDocument/2006/relationships/image" Target="../media/image3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5.png"/><Relationship Id="rId14" Type="http://schemas.openxmlformats.org/officeDocument/2006/relationships/image" Target="../media/image20.svg"/><Relationship Id="rId22" Type="http://schemas.openxmlformats.org/officeDocument/2006/relationships/image" Target="../media/image28.svg"/><Relationship Id="rId27" Type="http://schemas.openxmlformats.org/officeDocument/2006/relationships/image" Target="../media/image33.png"/><Relationship Id="rId30" Type="http://schemas.openxmlformats.org/officeDocument/2006/relationships/image" Target="../media/image3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0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1.png"/><Relationship Id="rId11" Type="http://schemas.openxmlformats.org/officeDocument/2006/relationships/image" Target="../media/image43.svg"/><Relationship Id="rId5" Type="http://schemas.openxmlformats.org/officeDocument/2006/relationships/image" Target="../media/image39.svg"/><Relationship Id="rId10" Type="http://schemas.openxmlformats.org/officeDocument/2006/relationships/image" Target="../media/image42.png"/><Relationship Id="rId4" Type="http://schemas.openxmlformats.org/officeDocument/2006/relationships/image" Target="../media/image17.png"/><Relationship Id="rId9" Type="http://schemas.openxmlformats.org/officeDocument/2006/relationships/image" Target="../media/image4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E66A7F-853A-46B2-8102-21446A7561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itizen Delivery Docu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5B3BD3-0B78-4004-9263-E5CCA2F1A0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[Task Name]</a:t>
            </a: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8E589A-8728-4539-9315-6F5AD0F8A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 A – Release Notes: [Task Name]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8A27B9-7BE4-49DD-BA12-3D1C75E537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6" name="Table 17">
            <a:extLst>
              <a:ext uri="{FF2B5EF4-FFF2-40B4-BE49-F238E27FC236}">
                <a16:creationId xmlns:a16="http://schemas.microsoft.com/office/drawing/2014/main" id="{95A9E206-FB15-4667-9113-816A13A24F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8051663"/>
              </p:ext>
            </p:extLst>
          </p:nvPr>
        </p:nvGraphicFramePr>
        <p:xfrm>
          <a:off x="576000" y="1036800"/>
          <a:ext cx="10886327" cy="359726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729117">
                  <a:extLst>
                    <a:ext uri="{9D8B030D-6E8A-4147-A177-3AD203B41FA5}">
                      <a16:colId xmlns:a16="http://schemas.microsoft.com/office/drawing/2014/main" val="4007637943"/>
                    </a:ext>
                  </a:extLst>
                </a:gridCol>
                <a:gridCol w="1433791">
                  <a:extLst>
                    <a:ext uri="{9D8B030D-6E8A-4147-A177-3AD203B41FA5}">
                      <a16:colId xmlns:a16="http://schemas.microsoft.com/office/drawing/2014/main" val="417246402"/>
                    </a:ext>
                  </a:extLst>
                </a:gridCol>
                <a:gridCol w="1572890">
                  <a:extLst>
                    <a:ext uri="{9D8B030D-6E8A-4147-A177-3AD203B41FA5}">
                      <a16:colId xmlns:a16="http://schemas.microsoft.com/office/drawing/2014/main" val="2841005835"/>
                    </a:ext>
                  </a:extLst>
                </a:gridCol>
                <a:gridCol w="1683886">
                  <a:extLst>
                    <a:ext uri="{9D8B030D-6E8A-4147-A177-3AD203B41FA5}">
                      <a16:colId xmlns:a16="http://schemas.microsoft.com/office/drawing/2014/main" val="3046870742"/>
                    </a:ext>
                  </a:extLst>
                </a:gridCol>
                <a:gridCol w="4466643">
                  <a:extLst>
                    <a:ext uri="{9D8B030D-6E8A-4147-A177-3AD203B41FA5}">
                      <a16:colId xmlns:a16="http://schemas.microsoft.com/office/drawing/2014/main" val="1417568511"/>
                    </a:ext>
                  </a:extLst>
                </a:gridCol>
              </a:tblGrid>
              <a:tr h="561091">
                <a:tc>
                  <a:txBody>
                    <a:bodyPr/>
                    <a:lstStyle/>
                    <a:p>
                      <a:r>
                        <a:rPr lang="en-US" sz="1600" dirty="0"/>
                        <a:t>Release Nam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lease Version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at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leased by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hange Description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324622"/>
                  </a:ext>
                </a:extLst>
              </a:tr>
              <a:tr h="60362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0311676"/>
                  </a:ext>
                </a:extLst>
              </a:tr>
              <a:tr h="60362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4666701"/>
                  </a:ext>
                </a:extLst>
              </a:tr>
              <a:tr h="60362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05455"/>
                  </a:ext>
                </a:extLst>
              </a:tr>
              <a:tr h="60362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7570518"/>
                  </a:ext>
                </a:extLst>
              </a:tr>
              <a:tr h="60362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845377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532A1CB3-43D7-4027-B11B-E2680159DF43}"/>
              </a:ext>
            </a:extLst>
          </p:cNvPr>
          <p:cNvGrpSpPr/>
          <p:nvPr/>
        </p:nvGrpSpPr>
        <p:grpSpPr>
          <a:xfrm>
            <a:off x="6777130" y="82628"/>
            <a:ext cx="4685197" cy="405433"/>
            <a:chOff x="4717420" y="4111150"/>
            <a:chExt cx="4685197" cy="405433"/>
          </a:xfrm>
        </p:grpSpPr>
        <p:sp>
          <p:nvSpPr>
            <p:cNvPr id="12" name="Pentagon 17">
              <a:extLst>
                <a:ext uri="{FF2B5EF4-FFF2-40B4-BE49-F238E27FC236}">
                  <a16:creationId xmlns:a16="http://schemas.microsoft.com/office/drawing/2014/main" id="{6C47260A-9E51-4571-9248-BDE110A8BA16}"/>
                </a:ext>
              </a:extLst>
            </p:cNvPr>
            <p:cNvSpPr/>
            <p:nvPr/>
          </p:nvSpPr>
          <p:spPr>
            <a:xfrm>
              <a:off x="4717420" y="4112258"/>
              <a:ext cx="875215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  <a:latin typeface="+mj-lt"/>
                </a:rPr>
                <a:t>Submit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19" name="AutoShape 7">
              <a:extLst>
                <a:ext uri="{FF2B5EF4-FFF2-40B4-BE49-F238E27FC236}">
                  <a16:creationId xmlns:a16="http://schemas.microsoft.com/office/drawing/2014/main" id="{7DCB2BEA-FB04-464C-A526-FCF50F6B2468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684149" y="4111150"/>
              <a:ext cx="958269" cy="380521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  <a:latin typeface="+mj-lt"/>
                </a:rPr>
                <a:t>α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20" name="Pentagon 17">
              <a:extLst>
                <a:ext uri="{FF2B5EF4-FFF2-40B4-BE49-F238E27FC236}">
                  <a16:creationId xmlns:a16="http://schemas.microsoft.com/office/drawing/2014/main" id="{D831E98F-CA0A-4BE1-8333-01B84188B401}"/>
                </a:ext>
              </a:extLst>
            </p:cNvPr>
            <p:cNvSpPr/>
            <p:nvPr/>
          </p:nvSpPr>
          <p:spPr>
            <a:xfrm>
              <a:off x="6622088" y="4112258"/>
              <a:ext cx="875841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</a:rPr>
                <a:t>Build &amp; Test</a:t>
              </a:r>
            </a:p>
          </p:txBody>
        </p:sp>
        <p:sp>
          <p:nvSpPr>
            <p:cNvPr id="21" name="AutoShape 7">
              <a:extLst>
                <a:ext uri="{FF2B5EF4-FFF2-40B4-BE49-F238E27FC236}">
                  <a16:creationId xmlns:a16="http://schemas.microsoft.com/office/drawing/2014/main" id="{C758D0FD-B410-47E4-9BF3-28272F154AC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91572" y="4111150"/>
              <a:ext cx="958269" cy="379618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</a:rPr>
                <a:t>β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22" name="Pentagon 17">
              <a:extLst>
                <a:ext uri="{FF2B5EF4-FFF2-40B4-BE49-F238E27FC236}">
                  <a16:creationId xmlns:a16="http://schemas.microsoft.com/office/drawing/2014/main" id="{D671AFE7-34C9-406F-8BBD-62DAAF18BFE3}"/>
                </a:ext>
              </a:extLst>
            </p:cNvPr>
            <p:cNvSpPr/>
            <p:nvPr/>
          </p:nvSpPr>
          <p:spPr>
            <a:xfrm>
              <a:off x="8527402" y="4111151"/>
              <a:ext cx="875215" cy="405432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chemeClr val="tx2"/>
                  </a:solidFill>
                </a:rPr>
                <a:t>Sh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2466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81">
            <a:extLst>
              <a:ext uri="{FF2B5EF4-FFF2-40B4-BE49-F238E27FC236}">
                <a16:creationId xmlns:a16="http://schemas.microsoft.com/office/drawing/2014/main" id="{5273EE4B-9248-415D-8736-4262355BE923}"/>
              </a:ext>
            </a:extLst>
          </p:cNvPr>
          <p:cNvSpPr/>
          <p:nvPr/>
        </p:nvSpPr>
        <p:spPr>
          <a:xfrm>
            <a:off x="575303" y="1038044"/>
            <a:ext cx="10849983" cy="33334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Task Detail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B942739-71FC-475C-A0DD-5F3317EF98FE}"/>
              </a:ext>
            </a:extLst>
          </p:cNvPr>
          <p:cNvGrpSpPr/>
          <p:nvPr/>
        </p:nvGrpSpPr>
        <p:grpSpPr>
          <a:xfrm>
            <a:off x="575285" y="1440960"/>
            <a:ext cx="5400000" cy="617414"/>
            <a:chOff x="575294" y="1762209"/>
            <a:chExt cx="3186252" cy="61741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9189544-6EF9-4D58-BFF5-1CB51026E3E1}"/>
                </a:ext>
              </a:extLst>
            </p:cNvPr>
            <p:cNvSpPr/>
            <p:nvPr/>
          </p:nvSpPr>
          <p:spPr>
            <a:xfrm>
              <a:off x="575294" y="2046282"/>
              <a:ext cx="3186252" cy="3333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22255486-C3F8-46B1-869D-8700A2A79542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 dirty="0"/>
                <a:t>Team Name / Business Unit / Department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48691C0-8EA6-46FB-BA02-C6024EDA58FA}"/>
              </a:ext>
            </a:extLst>
          </p:cNvPr>
          <p:cNvGrpSpPr/>
          <p:nvPr/>
        </p:nvGrpSpPr>
        <p:grpSpPr>
          <a:xfrm>
            <a:off x="6184702" y="1452838"/>
            <a:ext cx="5240583" cy="1892671"/>
            <a:chOff x="575301" y="1762209"/>
            <a:chExt cx="2875784" cy="1892671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6186C32-8944-4F53-95EF-E19575A369AF}"/>
                </a:ext>
              </a:extLst>
            </p:cNvPr>
            <p:cNvSpPr/>
            <p:nvPr/>
          </p:nvSpPr>
          <p:spPr>
            <a:xfrm>
              <a:off x="575301" y="2037510"/>
              <a:ext cx="2875784" cy="161737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4FD74F90-1D11-4A81-B893-3A21FC935C1A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Brief Task Description</a:t>
              </a:r>
            </a:p>
          </p:txBody>
        </p:sp>
      </p:grpSp>
      <p:sp>
        <p:nvSpPr>
          <p:cNvPr id="51" name="Title 8">
            <a:extLst>
              <a:ext uri="{FF2B5EF4-FFF2-40B4-BE49-F238E27FC236}">
                <a16:creationId xmlns:a16="http://schemas.microsoft.com/office/drawing/2014/main" id="{FBE7315F-E69A-447F-AF68-35E73411D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965" y="488061"/>
            <a:ext cx="11290071" cy="637940"/>
          </a:xfrm>
        </p:spPr>
        <p:txBody>
          <a:bodyPr/>
          <a:lstStyle/>
          <a:p>
            <a:r>
              <a:rPr lang="en-US"/>
              <a:t>Task Submission: [Task Name]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512BBA-3A55-43D7-B483-8426A1E351DB}"/>
              </a:ext>
            </a:extLst>
          </p:cNvPr>
          <p:cNvGrpSpPr/>
          <p:nvPr/>
        </p:nvGrpSpPr>
        <p:grpSpPr>
          <a:xfrm>
            <a:off x="574353" y="3614937"/>
            <a:ext cx="5397934" cy="2564017"/>
            <a:chOff x="574353" y="3743912"/>
            <a:chExt cx="5397934" cy="2564017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5FE0AF99-0123-4A6E-A8A7-C8EF5AC64E51}"/>
                </a:ext>
              </a:extLst>
            </p:cNvPr>
            <p:cNvSpPr/>
            <p:nvPr/>
          </p:nvSpPr>
          <p:spPr>
            <a:xfrm>
              <a:off x="575304" y="3743912"/>
              <a:ext cx="5396983" cy="333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/>
                <a:t>Automation Value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33E2AD8-B660-4D53-81A5-9A75B5CA30C4}"/>
                </a:ext>
              </a:extLst>
            </p:cNvPr>
            <p:cNvGrpSpPr/>
            <p:nvPr/>
          </p:nvGrpSpPr>
          <p:grpSpPr>
            <a:xfrm>
              <a:off x="575304" y="4083258"/>
              <a:ext cx="2591034" cy="617414"/>
              <a:chOff x="575304" y="3239805"/>
              <a:chExt cx="2591034" cy="617414"/>
            </a:xfrm>
          </p:grpSpPr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FC267045-B336-438A-BE53-E28D9DC5E0E9}"/>
                  </a:ext>
                </a:extLst>
              </p:cNvPr>
              <p:cNvSpPr/>
              <p:nvPr/>
            </p:nvSpPr>
            <p:spPr>
              <a:xfrm>
                <a:off x="575305" y="3523878"/>
                <a:ext cx="2591033" cy="3333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413D6780-C6FF-40CD-A08C-A70CBA147FA8}"/>
                  </a:ext>
                </a:extLst>
              </p:cNvPr>
              <p:cNvSpPr txBox="1"/>
              <p:nvPr/>
            </p:nvSpPr>
            <p:spPr>
              <a:xfrm>
                <a:off x="575304" y="3239805"/>
                <a:ext cx="2583278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 dirty="0"/>
                  <a:t>Task time in minutes?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B15A7EA-084B-4F42-B041-C8F2D90A08EA}"/>
                </a:ext>
              </a:extLst>
            </p:cNvPr>
            <p:cNvGrpSpPr/>
            <p:nvPr/>
          </p:nvGrpSpPr>
          <p:grpSpPr>
            <a:xfrm>
              <a:off x="3251138" y="4083641"/>
              <a:ext cx="2720198" cy="617031"/>
              <a:chOff x="3251138" y="3237700"/>
              <a:chExt cx="2720198" cy="617031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BB04FA93-A89C-401B-A5D9-9E597B4CB58F}"/>
                  </a:ext>
                </a:extLst>
              </p:cNvPr>
              <p:cNvSpPr/>
              <p:nvPr/>
            </p:nvSpPr>
            <p:spPr>
              <a:xfrm>
                <a:off x="3251140" y="3521390"/>
                <a:ext cx="2720196" cy="33334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5566B49A-737E-46D1-89A6-EFE43F78E9DD}"/>
                  </a:ext>
                </a:extLst>
              </p:cNvPr>
              <p:cNvSpPr txBox="1"/>
              <p:nvPr/>
            </p:nvSpPr>
            <p:spPr>
              <a:xfrm>
                <a:off x="3251138" y="3237700"/>
                <a:ext cx="2517791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 dirty="0"/>
                  <a:t>Times performed monthly?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5D2C841B-9F5F-44C3-9FC0-1A395C8BAEEC}"/>
                </a:ext>
              </a:extLst>
            </p:cNvPr>
            <p:cNvGrpSpPr/>
            <p:nvPr/>
          </p:nvGrpSpPr>
          <p:grpSpPr>
            <a:xfrm>
              <a:off x="574353" y="4711157"/>
              <a:ext cx="5396983" cy="1596772"/>
              <a:chOff x="575303" y="1762209"/>
              <a:chExt cx="3079475" cy="1596772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D69EB7A7-6CFB-40A0-9C00-EA5BA96A3767}"/>
                  </a:ext>
                </a:extLst>
              </p:cNvPr>
              <p:cNvSpPr/>
              <p:nvPr/>
            </p:nvSpPr>
            <p:spPr>
              <a:xfrm>
                <a:off x="575303" y="2069985"/>
                <a:ext cx="3079475" cy="128899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200">
                    <a:solidFill>
                      <a:schemeClr val="bg2"/>
                    </a:solidFill>
                  </a:rPr>
                  <a:t>Examples: Save time, reduce errors, tighten SLA or generate revenue…</a:t>
                </a: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7818B98C-24F8-494E-A559-ED79A8DEB39F}"/>
                  </a:ext>
                </a:extLst>
              </p:cNvPr>
              <p:cNvSpPr txBox="1"/>
              <p:nvPr/>
            </p:nvSpPr>
            <p:spPr>
              <a:xfrm>
                <a:off x="575303" y="1762209"/>
                <a:ext cx="2434597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 dirty="0"/>
                  <a:t>Benefits of automating this task:</a:t>
                </a: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53802A2-D4AA-44D6-B7FC-69B11D009FBB}"/>
              </a:ext>
            </a:extLst>
          </p:cNvPr>
          <p:cNvGrpSpPr/>
          <p:nvPr/>
        </p:nvGrpSpPr>
        <p:grpSpPr>
          <a:xfrm>
            <a:off x="574354" y="2072138"/>
            <a:ext cx="5478718" cy="642576"/>
            <a:chOff x="574354" y="2315823"/>
            <a:chExt cx="5478718" cy="642576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EE8C01D-F4CB-420E-8BF1-63099A4D5EF3}"/>
                </a:ext>
              </a:extLst>
            </p:cNvPr>
            <p:cNvGrpSpPr/>
            <p:nvPr/>
          </p:nvGrpSpPr>
          <p:grpSpPr>
            <a:xfrm>
              <a:off x="574354" y="2315823"/>
              <a:ext cx="2669789" cy="642576"/>
              <a:chOff x="575303" y="1762209"/>
              <a:chExt cx="1523360" cy="642576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7307AB-FF03-469D-B49B-8B376DCB08EE}"/>
                  </a:ext>
                </a:extLst>
              </p:cNvPr>
              <p:cNvSpPr/>
              <p:nvPr/>
            </p:nvSpPr>
            <p:spPr>
              <a:xfrm>
                <a:off x="575304" y="2069985"/>
                <a:ext cx="1478974" cy="3348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88646D36-7186-4BFC-A752-FB8900BAC901}"/>
                  </a:ext>
                </a:extLst>
              </p:cNvPr>
              <p:cNvSpPr txBox="1"/>
              <p:nvPr/>
            </p:nvSpPr>
            <p:spPr>
              <a:xfrm>
                <a:off x="575303" y="1762209"/>
                <a:ext cx="1523360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 dirty="0"/>
                  <a:t>Process Owner / Manager Name</a:t>
                </a: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52674B82-D311-4472-8377-EBD8BC5FF348}"/>
                </a:ext>
              </a:extLst>
            </p:cNvPr>
            <p:cNvGrpSpPr/>
            <p:nvPr/>
          </p:nvGrpSpPr>
          <p:grpSpPr>
            <a:xfrm>
              <a:off x="3247140" y="2322550"/>
              <a:ext cx="2805932" cy="617414"/>
              <a:chOff x="532156" y="3239805"/>
              <a:chExt cx="2805932" cy="617414"/>
            </a:xfrm>
          </p:grpSpPr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F35114A3-D5BA-4B43-B1DA-ACC2700FE27E}"/>
                  </a:ext>
                </a:extLst>
              </p:cNvPr>
              <p:cNvSpPr/>
              <p:nvPr/>
            </p:nvSpPr>
            <p:spPr>
              <a:xfrm>
                <a:off x="532157" y="3523878"/>
                <a:ext cx="2725148" cy="3333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457E4639-EC05-427C-9202-51C0DB492E52}"/>
                  </a:ext>
                </a:extLst>
              </p:cNvPr>
              <p:cNvSpPr txBox="1"/>
              <p:nvPr/>
            </p:nvSpPr>
            <p:spPr>
              <a:xfrm>
                <a:off x="532156" y="3239805"/>
                <a:ext cx="2805932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 dirty="0"/>
                  <a:t>Number of people performing task?</a:t>
                </a:r>
              </a:p>
            </p:txBody>
          </p:sp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7A752877-702F-4CB1-AF7C-D85E14B4BC6F}"/>
              </a:ext>
            </a:extLst>
          </p:cNvPr>
          <p:cNvGrpSpPr/>
          <p:nvPr/>
        </p:nvGrpSpPr>
        <p:grpSpPr>
          <a:xfrm>
            <a:off x="574354" y="2728478"/>
            <a:ext cx="5397934" cy="617031"/>
            <a:chOff x="3093094" y="3237700"/>
            <a:chExt cx="2275201" cy="617031"/>
          </a:xfrm>
        </p:grpSpPr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7EE68FFA-ADE8-4887-ABFE-338AEE715647}"/>
                </a:ext>
              </a:extLst>
            </p:cNvPr>
            <p:cNvSpPr/>
            <p:nvPr/>
          </p:nvSpPr>
          <p:spPr>
            <a:xfrm>
              <a:off x="3093094" y="3521390"/>
              <a:ext cx="2275201" cy="3333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6EC6B4C8-69C3-45B1-8502-BC2A29ADB628}"/>
                </a:ext>
              </a:extLst>
            </p:cNvPr>
            <p:cNvSpPr txBox="1"/>
            <p:nvPr/>
          </p:nvSpPr>
          <p:spPr>
            <a:xfrm>
              <a:off x="3100847" y="3237700"/>
              <a:ext cx="2267448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Applications used?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680617B-A674-48FB-87F4-C0D7B8D248C7}"/>
              </a:ext>
            </a:extLst>
          </p:cNvPr>
          <p:cNvGrpSpPr/>
          <p:nvPr/>
        </p:nvGrpSpPr>
        <p:grpSpPr>
          <a:xfrm>
            <a:off x="6169198" y="3614937"/>
            <a:ext cx="5286871" cy="2561014"/>
            <a:chOff x="6169198" y="3671499"/>
            <a:chExt cx="5286871" cy="2561014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B43E683B-1672-4123-9E02-459AA7B63927}"/>
                </a:ext>
              </a:extLst>
            </p:cNvPr>
            <p:cNvGrpSpPr/>
            <p:nvPr/>
          </p:nvGrpSpPr>
          <p:grpSpPr>
            <a:xfrm>
              <a:off x="6184702" y="5258785"/>
              <a:ext cx="5240583" cy="973728"/>
              <a:chOff x="5622441" y="5084614"/>
              <a:chExt cx="5240583" cy="973728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7B461A77-5724-4B85-A8F9-CDFD75EC9DAC}"/>
                  </a:ext>
                </a:extLst>
              </p:cNvPr>
              <p:cNvSpPr/>
              <p:nvPr/>
            </p:nvSpPr>
            <p:spPr>
              <a:xfrm>
                <a:off x="5622441" y="5368687"/>
                <a:ext cx="5240583" cy="689655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r>
                  <a:rPr lang="en-US" sz="1200" dirty="0">
                    <a:solidFill>
                      <a:schemeClr val="bg2"/>
                    </a:solidFill>
                  </a:rPr>
                  <a:t>Examples: Repetitiveness, exception count…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2C633B85-7EBF-4195-ABDF-D4F4246A0B7C}"/>
                  </a:ext>
                </a:extLst>
              </p:cNvPr>
              <p:cNvSpPr txBox="1"/>
              <p:nvPr/>
            </p:nvSpPr>
            <p:spPr>
              <a:xfrm>
                <a:off x="5622442" y="5084614"/>
                <a:ext cx="4960352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/>
                  <a:t>Additional considerations (repetitiveness, exception count </a:t>
                </a:r>
                <a:r>
                  <a:rPr lang="en-US" sz="1400" b="1" err="1"/>
                  <a:t>etc</a:t>
                </a:r>
                <a:r>
                  <a:rPr lang="en-US" sz="1400" b="1"/>
                  <a:t>):</a:t>
                </a:r>
              </a:p>
            </p:txBody>
          </p:sp>
        </p:grp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A20997B2-A908-49C5-B46C-6E89C36E2A98}"/>
                </a:ext>
              </a:extLst>
            </p:cNvPr>
            <p:cNvSpPr/>
            <p:nvPr/>
          </p:nvSpPr>
          <p:spPr>
            <a:xfrm>
              <a:off x="6169198" y="3671499"/>
              <a:ext cx="5286871" cy="333341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/>
                <a:t>Implementation Ease</a:t>
              </a: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FC6FB4A0-2117-484F-8971-3DF12BEA19AC}"/>
                </a:ext>
              </a:extLst>
            </p:cNvPr>
            <p:cNvGrpSpPr/>
            <p:nvPr/>
          </p:nvGrpSpPr>
          <p:grpSpPr>
            <a:xfrm>
              <a:off x="6176948" y="4018327"/>
              <a:ext cx="2592001" cy="617414"/>
              <a:chOff x="575303" y="3239805"/>
              <a:chExt cx="2592001" cy="617414"/>
            </a:xfrm>
          </p:grpSpPr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4E6B29AE-220F-4A81-A6E9-C0AA20276C64}"/>
                  </a:ext>
                </a:extLst>
              </p:cNvPr>
              <p:cNvSpPr/>
              <p:nvPr/>
            </p:nvSpPr>
            <p:spPr>
              <a:xfrm>
                <a:off x="575304" y="3523878"/>
                <a:ext cx="2592000" cy="3333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BEBB3946-41A4-439E-9B83-C5F2CA0F9B4E}"/>
                  </a:ext>
                </a:extLst>
              </p:cNvPr>
              <p:cNvSpPr txBox="1"/>
              <p:nvPr/>
            </p:nvSpPr>
            <p:spPr>
              <a:xfrm>
                <a:off x="575303" y="3239805"/>
                <a:ext cx="2517791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/>
                  <a:t>Number of actions performed?</a:t>
                </a: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43B2FF4D-6C1E-4B1E-8EC0-0775E9DA512E}"/>
                </a:ext>
              </a:extLst>
            </p:cNvPr>
            <p:cNvGrpSpPr/>
            <p:nvPr/>
          </p:nvGrpSpPr>
          <p:grpSpPr>
            <a:xfrm>
              <a:off x="8861503" y="4018710"/>
              <a:ext cx="2594566" cy="617031"/>
              <a:chOff x="3175055" y="3237700"/>
              <a:chExt cx="2594566" cy="617031"/>
            </a:xfrm>
          </p:grpSpPr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41662D0E-2CD2-471D-809C-1584BD6FE54E}"/>
                  </a:ext>
                </a:extLst>
              </p:cNvPr>
              <p:cNvSpPr/>
              <p:nvPr/>
            </p:nvSpPr>
            <p:spPr>
              <a:xfrm>
                <a:off x="3175057" y="3521390"/>
                <a:ext cx="2594564" cy="33334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338DEF77-D7BF-4545-BDF4-C9F96AB8DE9A}"/>
                  </a:ext>
                </a:extLst>
              </p:cNvPr>
              <p:cNvSpPr txBox="1"/>
              <p:nvPr/>
            </p:nvSpPr>
            <p:spPr>
              <a:xfrm>
                <a:off x="3175055" y="3237700"/>
                <a:ext cx="2193239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 dirty="0"/>
                  <a:t>Number of outcomes?</a:t>
                </a: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66558558-6F05-46D9-ABE9-47142C5A377D}"/>
                </a:ext>
              </a:extLst>
            </p:cNvPr>
            <p:cNvGrpSpPr/>
            <p:nvPr/>
          </p:nvGrpSpPr>
          <p:grpSpPr>
            <a:xfrm>
              <a:off x="8861504" y="4624092"/>
              <a:ext cx="2563781" cy="617414"/>
              <a:chOff x="657266" y="3239805"/>
              <a:chExt cx="2563781" cy="617414"/>
            </a:xfrm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FA8FEF74-B2F3-4142-B9FE-92346DE89A48}"/>
                  </a:ext>
                </a:extLst>
              </p:cNvPr>
              <p:cNvSpPr/>
              <p:nvPr/>
            </p:nvSpPr>
            <p:spPr>
              <a:xfrm>
                <a:off x="657266" y="3523878"/>
                <a:ext cx="2563781" cy="33334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200" dirty="0">
                    <a:solidFill>
                      <a:schemeClr val="bg2"/>
                    </a:solidFill>
                  </a:rPr>
                  <a:t>Structured, semi-structured or unstructured</a:t>
                </a: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A7107CA1-FA48-4F1C-AE3C-A4B8EBFA2BA2}"/>
                  </a:ext>
                </a:extLst>
              </p:cNvPr>
              <p:cNvSpPr txBox="1"/>
              <p:nvPr/>
            </p:nvSpPr>
            <p:spPr>
              <a:xfrm>
                <a:off x="657266" y="3239805"/>
                <a:ext cx="2435828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 dirty="0"/>
                  <a:t>Structure of Input Data?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6A975F75-F8CF-43E2-A471-C9A0FBECB2A8}"/>
                </a:ext>
              </a:extLst>
            </p:cNvPr>
            <p:cNvGrpSpPr/>
            <p:nvPr/>
          </p:nvGrpSpPr>
          <p:grpSpPr>
            <a:xfrm>
              <a:off x="6176949" y="4635001"/>
              <a:ext cx="2592000" cy="617031"/>
              <a:chOff x="3093093" y="3237700"/>
              <a:chExt cx="2592000" cy="617031"/>
            </a:xfrm>
          </p:grpSpPr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DE62D66C-F2EC-4E4B-A105-1ED684785FFF}"/>
                  </a:ext>
                </a:extLst>
              </p:cNvPr>
              <p:cNvSpPr/>
              <p:nvPr/>
            </p:nvSpPr>
            <p:spPr>
              <a:xfrm>
                <a:off x="3093093" y="3521390"/>
                <a:ext cx="2592000" cy="33334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7F3C6BA1-BB1F-4418-9286-42FDA414377E}"/>
                  </a:ext>
                </a:extLst>
              </p:cNvPr>
              <p:cNvSpPr txBox="1"/>
              <p:nvPr/>
            </p:nvSpPr>
            <p:spPr>
              <a:xfrm>
                <a:off x="3100847" y="3237700"/>
                <a:ext cx="2267448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/>
                  <a:t>Digital Input Data? (Yes/No)</a:t>
                </a: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B7109B2-738A-4AB9-B54D-E8CFEC11C89D}"/>
              </a:ext>
            </a:extLst>
          </p:cNvPr>
          <p:cNvGrpSpPr/>
          <p:nvPr/>
        </p:nvGrpSpPr>
        <p:grpSpPr>
          <a:xfrm>
            <a:off x="6786367" y="82628"/>
            <a:ext cx="4685197" cy="405433"/>
            <a:chOff x="4717420" y="4111150"/>
            <a:chExt cx="4685197" cy="405433"/>
          </a:xfrm>
        </p:grpSpPr>
        <p:sp>
          <p:nvSpPr>
            <p:cNvPr id="55" name="Pentagon 17">
              <a:extLst>
                <a:ext uri="{FF2B5EF4-FFF2-40B4-BE49-F238E27FC236}">
                  <a16:creationId xmlns:a16="http://schemas.microsoft.com/office/drawing/2014/main" id="{715B07C7-B6E1-446D-9AD0-7E261FB2696E}"/>
                </a:ext>
              </a:extLst>
            </p:cNvPr>
            <p:cNvSpPr/>
            <p:nvPr/>
          </p:nvSpPr>
          <p:spPr>
            <a:xfrm>
              <a:off x="4717420" y="4112258"/>
              <a:ext cx="875215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>
                  <a:solidFill>
                    <a:schemeClr val="tx2"/>
                  </a:solidFill>
                </a:rPr>
                <a:t>Submit</a:t>
              </a:r>
              <a:endParaRPr lang="en-US" sz="1300" b="1" dirty="0">
                <a:solidFill>
                  <a:schemeClr val="tx2"/>
                </a:solidFill>
              </a:endParaRPr>
            </a:p>
          </p:txBody>
        </p:sp>
        <p:sp>
          <p:nvSpPr>
            <p:cNvPr id="56" name="AutoShape 7">
              <a:extLst>
                <a:ext uri="{FF2B5EF4-FFF2-40B4-BE49-F238E27FC236}">
                  <a16:creationId xmlns:a16="http://schemas.microsoft.com/office/drawing/2014/main" id="{EF87F0FC-2997-466F-82C2-D0C09E79517B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684149" y="4111150"/>
              <a:ext cx="958269" cy="380521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  <a:latin typeface="+mj-lt"/>
                </a:rPr>
                <a:t>α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57" name="Pentagon 17">
              <a:extLst>
                <a:ext uri="{FF2B5EF4-FFF2-40B4-BE49-F238E27FC236}">
                  <a16:creationId xmlns:a16="http://schemas.microsoft.com/office/drawing/2014/main" id="{7550228F-4797-4F1C-973F-DA7C1BEDFD0A}"/>
                </a:ext>
              </a:extLst>
            </p:cNvPr>
            <p:cNvSpPr/>
            <p:nvPr/>
          </p:nvSpPr>
          <p:spPr>
            <a:xfrm>
              <a:off x="6622088" y="4112258"/>
              <a:ext cx="875841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</a:rPr>
                <a:t>Build &amp; Test</a:t>
              </a:r>
            </a:p>
          </p:txBody>
        </p:sp>
        <p:sp>
          <p:nvSpPr>
            <p:cNvPr id="58" name="AutoShape 7">
              <a:extLst>
                <a:ext uri="{FF2B5EF4-FFF2-40B4-BE49-F238E27FC236}">
                  <a16:creationId xmlns:a16="http://schemas.microsoft.com/office/drawing/2014/main" id="{533E22BD-74B2-4820-93B5-308CFC1DB9FB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91572" y="4111150"/>
              <a:ext cx="958269" cy="379618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</a:rPr>
                <a:t>β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59" name="Pentagon 17">
              <a:extLst>
                <a:ext uri="{FF2B5EF4-FFF2-40B4-BE49-F238E27FC236}">
                  <a16:creationId xmlns:a16="http://schemas.microsoft.com/office/drawing/2014/main" id="{4225C7C8-4876-43AE-87D2-6BA0535EB2EB}"/>
                </a:ext>
              </a:extLst>
            </p:cNvPr>
            <p:cNvSpPr/>
            <p:nvPr/>
          </p:nvSpPr>
          <p:spPr>
            <a:xfrm>
              <a:off x="8527402" y="4111151"/>
              <a:ext cx="875215" cy="405432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>
                  <a:solidFill>
                    <a:srgbClr val="D9D9D9"/>
                  </a:solidFill>
                </a:rPr>
                <a:t>Share</a:t>
              </a:r>
              <a:endParaRPr lang="en-US" sz="1300" b="1" dirty="0">
                <a:solidFill>
                  <a:srgbClr val="D9D9D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83616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8E589A-8728-4539-9315-6F5AD0F8A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964" y="483106"/>
            <a:ext cx="11290071" cy="637940"/>
          </a:xfrm>
        </p:spPr>
        <p:txBody>
          <a:bodyPr/>
          <a:lstStyle/>
          <a:p>
            <a:r>
              <a:rPr lang="en-US"/>
              <a:t>Current State: [Task Name]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0F9DE68-ACF0-49B3-B6A6-B1AF0582761B}"/>
              </a:ext>
            </a:extLst>
          </p:cNvPr>
          <p:cNvSpPr/>
          <p:nvPr/>
        </p:nvSpPr>
        <p:spPr>
          <a:xfrm>
            <a:off x="466970" y="1203160"/>
            <a:ext cx="1400766" cy="4768857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/>
          <a:lstStyle/>
          <a:p>
            <a:pPr algn="ctr" defTabSz="457200">
              <a:defRPr/>
            </a:pPr>
            <a:r>
              <a:rPr lang="en-US" sz="1400" b="1">
                <a:solidFill>
                  <a:schemeClr val="accent4"/>
                </a:solidFill>
                <a:latin typeface="Arial"/>
                <a:cs typeface="Arial"/>
              </a:rPr>
              <a:t> </a:t>
            </a:r>
            <a:r>
              <a:rPr lang="en-US" sz="1400" b="1">
                <a:solidFill>
                  <a:schemeClr val="bg2"/>
                </a:solidFill>
                <a:latin typeface="Arial"/>
                <a:cs typeface="Arial"/>
              </a:rPr>
              <a:t>Shape Bank</a:t>
            </a:r>
          </a:p>
          <a:p>
            <a:pPr algn="ctr" defTabSz="457200">
              <a:defRPr/>
            </a:pPr>
            <a:r>
              <a:rPr lang="en-US" sz="1000" b="1">
                <a:solidFill>
                  <a:srgbClr val="333333"/>
                </a:solidFill>
                <a:latin typeface="Arial"/>
                <a:cs typeface="Arial"/>
              </a:rPr>
              <a:t>Press and Hold CTRL, Click and Drag each shape as needed</a:t>
            </a:r>
          </a:p>
        </p:txBody>
      </p:sp>
      <p:sp>
        <p:nvSpPr>
          <p:cNvPr id="22" name="Flowchart: Terminator 21">
            <a:extLst>
              <a:ext uri="{FF2B5EF4-FFF2-40B4-BE49-F238E27FC236}">
                <a16:creationId xmlns:a16="http://schemas.microsoft.com/office/drawing/2014/main" id="{E9E17B9C-6E8F-4CD8-ABAC-D5C7D39264B3}"/>
              </a:ext>
            </a:extLst>
          </p:cNvPr>
          <p:cNvSpPr/>
          <p:nvPr/>
        </p:nvSpPr>
        <p:spPr>
          <a:xfrm>
            <a:off x="568528" y="2032524"/>
            <a:ext cx="1171329" cy="618752"/>
          </a:xfrm>
          <a:prstGeom prst="flowChartTerminator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cs typeface="Arial"/>
              </a:rPr>
              <a:t>Event to START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F3DF940-5A3F-48C9-A76E-A4D647AA7A7D}"/>
              </a:ext>
            </a:extLst>
          </p:cNvPr>
          <p:cNvCxnSpPr>
            <a:cxnSpLocks/>
          </p:cNvCxnSpPr>
          <p:nvPr/>
        </p:nvCxnSpPr>
        <p:spPr>
          <a:xfrm>
            <a:off x="634436" y="2900083"/>
            <a:ext cx="343410" cy="0"/>
          </a:xfrm>
          <a:prstGeom prst="straightConnector1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Diamond 23">
            <a:extLst>
              <a:ext uri="{FF2B5EF4-FFF2-40B4-BE49-F238E27FC236}">
                <a16:creationId xmlns:a16="http://schemas.microsoft.com/office/drawing/2014/main" id="{830D6F96-DCE5-4866-A5F5-264E08D6C535}"/>
              </a:ext>
            </a:extLst>
          </p:cNvPr>
          <p:cNvSpPr/>
          <p:nvPr/>
        </p:nvSpPr>
        <p:spPr>
          <a:xfrm>
            <a:off x="517327" y="4142793"/>
            <a:ext cx="1273726" cy="948318"/>
          </a:xfrm>
          <a:prstGeom prst="diamond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cs typeface="Arial"/>
              </a:rPr>
              <a:t>Decision</a:t>
            </a:r>
          </a:p>
        </p:txBody>
      </p:sp>
      <p:sp>
        <p:nvSpPr>
          <p:cNvPr id="25" name="Flowchart: Terminator 24">
            <a:extLst>
              <a:ext uri="{FF2B5EF4-FFF2-40B4-BE49-F238E27FC236}">
                <a16:creationId xmlns:a16="http://schemas.microsoft.com/office/drawing/2014/main" id="{40B7F25B-39C8-4F29-BA92-81D56B91DD8D}"/>
              </a:ext>
            </a:extLst>
          </p:cNvPr>
          <p:cNvSpPr/>
          <p:nvPr/>
        </p:nvSpPr>
        <p:spPr>
          <a:xfrm>
            <a:off x="601934" y="5325306"/>
            <a:ext cx="1171329" cy="379510"/>
          </a:xfrm>
          <a:prstGeom prst="flowChartTerminator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cs typeface="Arial"/>
              </a:rPr>
              <a:t>EN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E581D78-1E8D-48AA-931A-7C21AACC9379}"/>
              </a:ext>
            </a:extLst>
          </p:cNvPr>
          <p:cNvSpPr/>
          <p:nvPr/>
        </p:nvSpPr>
        <p:spPr>
          <a:xfrm>
            <a:off x="521546" y="4923861"/>
            <a:ext cx="544554" cy="3344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000">
                <a:solidFill>
                  <a:schemeClr val="bg2"/>
                </a:solidFill>
                <a:latin typeface="Arial"/>
                <a:cs typeface="Arial"/>
              </a:rPr>
              <a:t>Y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D840D20-0C5C-48F7-8D42-8727D765732D}"/>
              </a:ext>
            </a:extLst>
          </p:cNvPr>
          <p:cNvGrpSpPr/>
          <p:nvPr/>
        </p:nvGrpSpPr>
        <p:grpSpPr>
          <a:xfrm>
            <a:off x="616663" y="3173010"/>
            <a:ext cx="1075061" cy="873145"/>
            <a:chOff x="1924581" y="2995995"/>
            <a:chExt cx="1075341" cy="87337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A326D38-FFE8-46E7-A207-788663683B70}"/>
                </a:ext>
              </a:extLst>
            </p:cNvPr>
            <p:cNvSpPr/>
            <p:nvPr/>
          </p:nvSpPr>
          <p:spPr>
            <a:xfrm>
              <a:off x="1924581" y="2995995"/>
              <a:ext cx="1075341" cy="670247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457200">
                <a:defRPr/>
              </a:pPr>
              <a:r>
                <a:rPr lang="en-US" sz="1200">
                  <a:solidFill>
                    <a:srgbClr val="FFFFFF"/>
                  </a:solidFill>
                  <a:latin typeface="Arial"/>
                  <a:cs typeface="Arial"/>
                </a:rPr>
                <a:t>Actio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7379EC1-515D-467D-9C93-74C9B9A0C73D}"/>
                </a:ext>
              </a:extLst>
            </p:cNvPr>
            <p:cNvSpPr/>
            <p:nvPr/>
          </p:nvSpPr>
          <p:spPr>
            <a:xfrm>
              <a:off x="1924581" y="3666242"/>
              <a:ext cx="1075339" cy="203125"/>
            </a:xfrm>
            <a:prstGeom prst="rect">
              <a:avLst/>
            </a:prstGeom>
            <a:noFill/>
            <a:ln>
              <a:solidFill>
                <a:schemeClr val="bg2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457200">
                <a:defRPr/>
              </a:pPr>
              <a:r>
                <a:rPr lang="en-US" sz="1000">
                  <a:solidFill>
                    <a:schemeClr val="bg2"/>
                  </a:solidFill>
                  <a:latin typeface="Arial"/>
                  <a:cs typeface="Arial"/>
                </a:rPr>
                <a:t>System</a:t>
              </a: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AC31828F-B7A4-425C-A7B4-BAE83935B030}"/>
              </a:ext>
            </a:extLst>
          </p:cNvPr>
          <p:cNvSpPr/>
          <p:nvPr/>
        </p:nvSpPr>
        <p:spPr>
          <a:xfrm>
            <a:off x="1289332" y="4923861"/>
            <a:ext cx="544554" cy="3344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000">
                <a:solidFill>
                  <a:schemeClr val="bg2"/>
                </a:solidFill>
                <a:latin typeface="Arial"/>
                <a:cs typeface="Arial"/>
              </a:rPr>
              <a:t>No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CF2C979-C529-4348-95F3-1B93C72707DA}"/>
              </a:ext>
            </a:extLst>
          </p:cNvPr>
          <p:cNvCxnSpPr/>
          <p:nvPr/>
        </p:nvCxnSpPr>
        <p:spPr>
          <a:xfrm flipV="1">
            <a:off x="1088636" y="2730406"/>
            <a:ext cx="0" cy="347382"/>
          </a:xfrm>
          <a:prstGeom prst="straightConnector1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7B0591ED-E45B-49C2-9919-C705CAD5D274}"/>
              </a:ext>
            </a:extLst>
          </p:cNvPr>
          <p:cNvCxnSpPr/>
          <p:nvPr/>
        </p:nvCxnSpPr>
        <p:spPr>
          <a:xfrm>
            <a:off x="1238159" y="2730406"/>
            <a:ext cx="0" cy="347382"/>
          </a:xfrm>
          <a:prstGeom prst="straightConnector1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F0E5F3DB-7A9F-47EB-B5B7-CFE32C3EB15E}"/>
              </a:ext>
            </a:extLst>
          </p:cNvPr>
          <p:cNvCxnSpPr>
            <a:cxnSpLocks/>
          </p:cNvCxnSpPr>
          <p:nvPr/>
        </p:nvCxnSpPr>
        <p:spPr>
          <a:xfrm rot="16200000" flipH="1">
            <a:off x="1317033" y="2794461"/>
            <a:ext cx="327193" cy="265676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075AB89-57B7-4747-9A26-B445CBDD930C}"/>
              </a:ext>
            </a:extLst>
          </p:cNvPr>
          <p:cNvGrpSpPr/>
          <p:nvPr/>
        </p:nvGrpSpPr>
        <p:grpSpPr>
          <a:xfrm>
            <a:off x="6786367" y="82628"/>
            <a:ext cx="4685197" cy="405433"/>
            <a:chOff x="4717420" y="4111150"/>
            <a:chExt cx="4685197" cy="405433"/>
          </a:xfrm>
        </p:grpSpPr>
        <p:sp>
          <p:nvSpPr>
            <p:cNvPr id="35" name="Pentagon 17">
              <a:extLst>
                <a:ext uri="{FF2B5EF4-FFF2-40B4-BE49-F238E27FC236}">
                  <a16:creationId xmlns:a16="http://schemas.microsoft.com/office/drawing/2014/main" id="{E25955D2-7DB1-4A84-9733-3169A5BFAA92}"/>
                </a:ext>
              </a:extLst>
            </p:cNvPr>
            <p:cNvSpPr/>
            <p:nvPr/>
          </p:nvSpPr>
          <p:spPr>
            <a:xfrm>
              <a:off x="4717420" y="4112258"/>
              <a:ext cx="875215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>
                  <a:solidFill>
                    <a:schemeClr val="tx2"/>
                  </a:solidFill>
                </a:rPr>
                <a:t>Submit</a:t>
              </a:r>
              <a:endParaRPr lang="en-US" sz="1300" b="1" dirty="0">
                <a:solidFill>
                  <a:schemeClr val="tx2"/>
                </a:solidFill>
              </a:endParaRPr>
            </a:p>
          </p:txBody>
        </p:sp>
        <p:sp>
          <p:nvSpPr>
            <p:cNvPr id="36" name="AutoShape 7">
              <a:extLst>
                <a:ext uri="{FF2B5EF4-FFF2-40B4-BE49-F238E27FC236}">
                  <a16:creationId xmlns:a16="http://schemas.microsoft.com/office/drawing/2014/main" id="{D0930FED-D440-44CF-A902-E0424DF7162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684149" y="4111150"/>
              <a:ext cx="958269" cy="380521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  <a:latin typeface="+mj-lt"/>
                </a:rPr>
                <a:t>α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37" name="Pentagon 17">
              <a:extLst>
                <a:ext uri="{FF2B5EF4-FFF2-40B4-BE49-F238E27FC236}">
                  <a16:creationId xmlns:a16="http://schemas.microsoft.com/office/drawing/2014/main" id="{8CEC7E6B-70ED-42FF-B6CF-DFC19DA9930C}"/>
                </a:ext>
              </a:extLst>
            </p:cNvPr>
            <p:cNvSpPr/>
            <p:nvPr/>
          </p:nvSpPr>
          <p:spPr>
            <a:xfrm>
              <a:off x="6622088" y="4112258"/>
              <a:ext cx="875841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</a:rPr>
                <a:t>Build &amp; Test</a:t>
              </a:r>
            </a:p>
          </p:txBody>
        </p:sp>
        <p:sp>
          <p:nvSpPr>
            <p:cNvPr id="38" name="AutoShape 7">
              <a:extLst>
                <a:ext uri="{FF2B5EF4-FFF2-40B4-BE49-F238E27FC236}">
                  <a16:creationId xmlns:a16="http://schemas.microsoft.com/office/drawing/2014/main" id="{599D2DB0-7EC2-48F8-8E89-F1D548C1B47C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91572" y="4111150"/>
              <a:ext cx="958269" cy="379618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</a:rPr>
                <a:t>β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39" name="Pentagon 17">
              <a:extLst>
                <a:ext uri="{FF2B5EF4-FFF2-40B4-BE49-F238E27FC236}">
                  <a16:creationId xmlns:a16="http://schemas.microsoft.com/office/drawing/2014/main" id="{986780BD-1F59-4A6F-93E3-099D08902C26}"/>
                </a:ext>
              </a:extLst>
            </p:cNvPr>
            <p:cNvSpPr/>
            <p:nvPr/>
          </p:nvSpPr>
          <p:spPr>
            <a:xfrm>
              <a:off x="8527402" y="4111151"/>
              <a:ext cx="875215" cy="405432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>
                  <a:solidFill>
                    <a:srgbClr val="D9D9D9"/>
                  </a:solidFill>
                </a:rPr>
                <a:t>Share</a:t>
              </a:r>
              <a:endParaRPr lang="en-US" sz="1300" b="1" dirty="0">
                <a:solidFill>
                  <a:srgbClr val="D9D9D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41360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08E589A-8728-4539-9315-6F5AD0F8A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State: [Task Name]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554358-1A21-44FA-826A-4D0514F68091}"/>
              </a:ext>
            </a:extLst>
          </p:cNvPr>
          <p:cNvSpPr/>
          <p:nvPr/>
        </p:nvSpPr>
        <p:spPr>
          <a:xfrm>
            <a:off x="466970" y="1203160"/>
            <a:ext cx="1400766" cy="4768857"/>
          </a:xfrm>
          <a:prstGeom prst="rect">
            <a:avLst/>
          </a:prstGeom>
          <a:noFill/>
          <a:ln>
            <a:solidFill>
              <a:schemeClr val="bg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/>
          <a:lstStyle/>
          <a:p>
            <a:pPr algn="ctr" defTabSz="457200">
              <a:defRPr/>
            </a:pPr>
            <a:r>
              <a:rPr lang="en-US" sz="1400" b="1">
                <a:solidFill>
                  <a:schemeClr val="accent4"/>
                </a:solidFill>
                <a:latin typeface="Arial"/>
                <a:cs typeface="Arial"/>
              </a:rPr>
              <a:t> </a:t>
            </a:r>
            <a:r>
              <a:rPr lang="en-US" sz="1400" b="1">
                <a:solidFill>
                  <a:schemeClr val="bg2"/>
                </a:solidFill>
                <a:latin typeface="Arial"/>
                <a:cs typeface="Arial"/>
              </a:rPr>
              <a:t>Shape Bank</a:t>
            </a:r>
          </a:p>
          <a:p>
            <a:pPr algn="ctr" defTabSz="457200">
              <a:defRPr/>
            </a:pPr>
            <a:r>
              <a:rPr lang="en-US" sz="1000" b="1">
                <a:solidFill>
                  <a:srgbClr val="333333"/>
                </a:solidFill>
                <a:latin typeface="Arial"/>
                <a:cs typeface="Arial"/>
              </a:rPr>
              <a:t>Press and Hold CTRL, Click and Drag each shape as needed</a:t>
            </a:r>
          </a:p>
        </p:txBody>
      </p:sp>
      <p:sp>
        <p:nvSpPr>
          <p:cNvPr id="6" name="Flowchart: Terminator 5">
            <a:extLst>
              <a:ext uri="{FF2B5EF4-FFF2-40B4-BE49-F238E27FC236}">
                <a16:creationId xmlns:a16="http://schemas.microsoft.com/office/drawing/2014/main" id="{5FE82BD4-5A3F-4450-9534-2FE6FB0766D5}"/>
              </a:ext>
            </a:extLst>
          </p:cNvPr>
          <p:cNvSpPr/>
          <p:nvPr/>
        </p:nvSpPr>
        <p:spPr>
          <a:xfrm>
            <a:off x="568528" y="2032524"/>
            <a:ext cx="1171329" cy="618752"/>
          </a:xfrm>
          <a:prstGeom prst="flowChartTerminator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cs typeface="Arial"/>
              </a:rPr>
              <a:t>Event to START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7ECD7E8-AB2B-4F64-941A-D2EB99FDE0E6}"/>
              </a:ext>
            </a:extLst>
          </p:cNvPr>
          <p:cNvCxnSpPr>
            <a:cxnSpLocks/>
          </p:cNvCxnSpPr>
          <p:nvPr/>
        </p:nvCxnSpPr>
        <p:spPr>
          <a:xfrm>
            <a:off x="634436" y="2900083"/>
            <a:ext cx="343410" cy="0"/>
          </a:xfrm>
          <a:prstGeom prst="straightConnector1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iamond 7">
            <a:extLst>
              <a:ext uri="{FF2B5EF4-FFF2-40B4-BE49-F238E27FC236}">
                <a16:creationId xmlns:a16="http://schemas.microsoft.com/office/drawing/2014/main" id="{BD2BA014-D7BE-490F-A38C-D88D4961C0E7}"/>
              </a:ext>
            </a:extLst>
          </p:cNvPr>
          <p:cNvSpPr/>
          <p:nvPr/>
        </p:nvSpPr>
        <p:spPr>
          <a:xfrm>
            <a:off x="517327" y="4142793"/>
            <a:ext cx="1273726" cy="948318"/>
          </a:xfrm>
          <a:prstGeom prst="diamond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cs typeface="Arial"/>
              </a:rPr>
              <a:t>Decision</a:t>
            </a:r>
          </a:p>
        </p:txBody>
      </p:sp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2B7BFE26-2C22-4A84-B206-91F4F2088035}"/>
              </a:ext>
            </a:extLst>
          </p:cNvPr>
          <p:cNvSpPr/>
          <p:nvPr/>
        </p:nvSpPr>
        <p:spPr>
          <a:xfrm>
            <a:off x="601934" y="5325306"/>
            <a:ext cx="1171329" cy="379510"/>
          </a:xfrm>
          <a:prstGeom prst="flowChartTerminator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200">
                <a:solidFill>
                  <a:srgbClr val="FFFFFF"/>
                </a:solidFill>
                <a:latin typeface="Arial"/>
                <a:cs typeface="Arial"/>
              </a:rPr>
              <a:t>EN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20F0CE-0515-4575-807D-16FFA81A7217}"/>
              </a:ext>
            </a:extLst>
          </p:cNvPr>
          <p:cNvSpPr/>
          <p:nvPr/>
        </p:nvSpPr>
        <p:spPr>
          <a:xfrm>
            <a:off x="521546" y="4923861"/>
            <a:ext cx="544554" cy="3344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000">
                <a:solidFill>
                  <a:schemeClr val="bg2"/>
                </a:solidFill>
                <a:latin typeface="Arial"/>
                <a:cs typeface="Arial"/>
              </a:rPr>
              <a:t>Y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FFC6E9B-5A3A-42C3-AE0B-FB1E6EE3796F}"/>
              </a:ext>
            </a:extLst>
          </p:cNvPr>
          <p:cNvGrpSpPr/>
          <p:nvPr/>
        </p:nvGrpSpPr>
        <p:grpSpPr>
          <a:xfrm>
            <a:off x="616663" y="3173010"/>
            <a:ext cx="1075061" cy="873145"/>
            <a:chOff x="1924581" y="2995995"/>
            <a:chExt cx="1075341" cy="87337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CF068A8-2068-48F3-AF67-71AF49B92AC5}"/>
                </a:ext>
              </a:extLst>
            </p:cNvPr>
            <p:cNvSpPr/>
            <p:nvPr/>
          </p:nvSpPr>
          <p:spPr>
            <a:xfrm>
              <a:off x="1924581" y="2995995"/>
              <a:ext cx="1075341" cy="670247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457200">
                <a:defRPr/>
              </a:pPr>
              <a:r>
                <a:rPr lang="en-US" sz="1200">
                  <a:solidFill>
                    <a:srgbClr val="FFFFFF"/>
                  </a:solidFill>
                  <a:latin typeface="Arial"/>
                  <a:cs typeface="Arial"/>
                </a:rPr>
                <a:t>Action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484F2D8-04CE-4DD3-B11E-57ECAFCE8F84}"/>
                </a:ext>
              </a:extLst>
            </p:cNvPr>
            <p:cNvSpPr/>
            <p:nvPr/>
          </p:nvSpPr>
          <p:spPr>
            <a:xfrm>
              <a:off x="1924581" y="3666242"/>
              <a:ext cx="1075339" cy="203125"/>
            </a:xfrm>
            <a:prstGeom prst="rect">
              <a:avLst/>
            </a:prstGeom>
            <a:noFill/>
            <a:ln>
              <a:solidFill>
                <a:schemeClr val="bg2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457200">
                <a:defRPr/>
              </a:pPr>
              <a:r>
                <a:rPr lang="en-US" sz="1000">
                  <a:solidFill>
                    <a:schemeClr val="bg2"/>
                  </a:solidFill>
                  <a:latin typeface="Arial"/>
                  <a:cs typeface="Arial"/>
                </a:rPr>
                <a:t>System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7C241DB4-5DDD-46DB-9B4E-1F9B922CB304}"/>
              </a:ext>
            </a:extLst>
          </p:cNvPr>
          <p:cNvSpPr/>
          <p:nvPr/>
        </p:nvSpPr>
        <p:spPr>
          <a:xfrm>
            <a:off x="1289332" y="4923861"/>
            <a:ext cx="544554" cy="3344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457200">
              <a:defRPr/>
            </a:pPr>
            <a:r>
              <a:rPr lang="en-US" sz="1000">
                <a:solidFill>
                  <a:schemeClr val="bg2"/>
                </a:solidFill>
                <a:latin typeface="Arial"/>
                <a:cs typeface="Arial"/>
              </a:rPr>
              <a:t>No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3BB5340-2156-4949-AFE2-E0BED817356B}"/>
              </a:ext>
            </a:extLst>
          </p:cNvPr>
          <p:cNvCxnSpPr/>
          <p:nvPr/>
        </p:nvCxnSpPr>
        <p:spPr>
          <a:xfrm flipV="1">
            <a:off x="1088636" y="2730406"/>
            <a:ext cx="0" cy="347382"/>
          </a:xfrm>
          <a:prstGeom prst="straightConnector1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1A7C6EB-6282-4A8B-A249-F407A99B2461}"/>
              </a:ext>
            </a:extLst>
          </p:cNvPr>
          <p:cNvCxnSpPr/>
          <p:nvPr/>
        </p:nvCxnSpPr>
        <p:spPr>
          <a:xfrm>
            <a:off x="1238159" y="2730406"/>
            <a:ext cx="0" cy="347382"/>
          </a:xfrm>
          <a:prstGeom prst="straightConnector1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9BE23796-562C-44D9-BE1C-D4659778417C}"/>
              </a:ext>
            </a:extLst>
          </p:cNvPr>
          <p:cNvCxnSpPr>
            <a:cxnSpLocks/>
          </p:cNvCxnSpPr>
          <p:nvPr/>
        </p:nvCxnSpPr>
        <p:spPr>
          <a:xfrm rot="16200000" flipH="1">
            <a:off x="1317033" y="2794461"/>
            <a:ext cx="327193" cy="265676"/>
          </a:xfrm>
          <a:prstGeom prst="bentConnector3">
            <a:avLst>
              <a:gd name="adj1" fmla="val 50000"/>
            </a:avLst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DDF9CDC-8804-4F13-95A0-7F882A4D391E}"/>
              </a:ext>
            </a:extLst>
          </p:cNvPr>
          <p:cNvGrpSpPr/>
          <p:nvPr/>
        </p:nvGrpSpPr>
        <p:grpSpPr>
          <a:xfrm>
            <a:off x="6786367" y="82628"/>
            <a:ext cx="4685197" cy="405433"/>
            <a:chOff x="4717420" y="4111150"/>
            <a:chExt cx="4685197" cy="405433"/>
          </a:xfrm>
        </p:grpSpPr>
        <p:sp>
          <p:nvSpPr>
            <p:cNvPr id="22" name="Pentagon 17">
              <a:extLst>
                <a:ext uri="{FF2B5EF4-FFF2-40B4-BE49-F238E27FC236}">
                  <a16:creationId xmlns:a16="http://schemas.microsoft.com/office/drawing/2014/main" id="{0863FFBE-5910-4715-BD0B-1CC1EFA6171F}"/>
                </a:ext>
              </a:extLst>
            </p:cNvPr>
            <p:cNvSpPr/>
            <p:nvPr/>
          </p:nvSpPr>
          <p:spPr>
            <a:xfrm>
              <a:off x="4717420" y="4112258"/>
              <a:ext cx="875215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>
                  <a:solidFill>
                    <a:schemeClr val="tx2"/>
                  </a:solidFill>
                </a:rPr>
                <a:t>Submit</a:t>
              </a:r>
              <a:endParaRPr lang="en-US" sz="1300" b="1" dirty="0">
                <a:solidFill>
                  <a:schemeClr val="tx2"/>
                </a:solidFill>
              </a:endParaRPr>
            </a:p>
          </p:txBody>
        </p:sp>
        <p:sp>
          <p:nvSpPr>
            <p:cNvPr id="23" name="AutoShape 7">
              <a:extLst>
                <a:ext uri="{FF2B5EF4-FFF2-40B4-BE49-F238E27FC236}">
                  <a16:creationId xmlns:a16="http://schemas.microsoft.com/office/drawing/2014/main" id="{29F01573-DD2A-43E3-BFD6-4F01ACE10924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684149" y="4111150"/>
              <a:ext cx="958269" cy="380521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  <a:latin typeface="+mj-lt"/>
                </a:rPr>
                <a:t>α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24" name="Pentagon 17">
              <a:extLst>
                <a:ext uri="{FF2B5EF4-FFF2-40B4-BE49-F238E27FC236}">
                  <a16:creationId xmlns:a16="http://schemas.microsoft.com/office/drawing/2014/main" id="{534D9F46-FDF1-4C7A-9D15-6A6405B4461D}"/>
                </a:ext>
              </a:extLst>
            </p:cNvPr>
            <p:cNvSpPr/>
            <p:nvPr/>
          </p:nvSpPr>
          <p:spPr>
            <a:xfrm>
              <a:off x="6622088" y="4112258"/>
              <a:ext cx="875841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</a:rPr>
                <a:t>Build &amp; Test</a:t>
              </a:r>
            </a:p>
          </p:txBody>
        </p:sp>
        <p:sp>
          <p:nvSpPr>
            <p:cNvPr id="25" name="AutoShape 7">
              <a:extLst>
                <a:ext uri="{FF2B5EF4-FFF2-40B4-BE49-F238E27FC236}">
                  <a16:creationId xmlns:a16="http://schemas.microsoft.com/office/drawing/2014/main" id="{8E2D54EA-BE2D-41CB-B153-EB760DBC3A3D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91572" y="4111150"/>
              <a:ext cx="958269" cy="379618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</a:rPr>
                <a:t>β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26" name="Pentagon 17">
              <a:extLst>
                <a:ext uri="{FF2B5EF4-FFF2-40B4-BE49-F238E27FC236}">
                  <a16:creationId xmlns:a16="http://schemas.microsoft.com/office/drawing/2014/main" id="{28228EA9-C464-4970-91E9-590824148684}"/>
                </a:ext>
              </a:extLst>
            </p:cNvPr>
            <p:cNvSpPr/>
            <p:nvPr/>
          </p:nvSpPr>
          <p:spPr>
            <a:xfrm>
              <a:off x="8527402" y="4111151"/>
              <a:ext cx="875215" cy="405432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>
                  <a:solidFill>
                    <a:srgbClr val="D9D9D9"/>
                  </a:solidFill>
                </a:rPr>
                <a:t>Share</a:t>
              </a:r>
              <a:endParaRPr lang="en-US" sz="1300" b="1" dirty="0">
                <a:solidFill>
                  <a:srgbClr val="D9D9D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8348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33C24-E6E4-416A-ABF5-6596410F9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eckpoint </a:t>
            </a:r>
            <a:r>
              <a:rPr lang="el-GR"/>
              <a:t>α</a:t>
            </a:r>
            <a:r>
              <a:rPr lang="en-US"/>
              <a:t>: [Task Name]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5C0F37-4000-4ABD-90AC-58B3CF767BB2}"/>
              </a:ext>
            </a:extLst>
          </p:cNvPr>
          <p:cNvSpPr/>
          <p:nvPr/>
        </p:nvSpPr>
        <p:spPr>
          <a:xfrm>
            <a:off x="575304" y="1036800"/>
            <a:ext cx="5310000" cy="33334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Task Representatives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F6DEF04-67A3-43C5-99C0-3BD42D726257}"/>
              </a:ext>
            </a:extLst>
          </p:cNvPr>
          <p:cNvSpPr/>
          <p:nvPr/>
        </p:nvSpPr>
        <p:spPr>
          <a:xfrm>
            <a:off x="6170400" y="1036799"/>
            <a:ext cx="5310000" cy="33334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Outcom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E17FCBA-D01A-4D72-B2E2-F88339530C17}"/>
              </a:ext>
            </a:extLst>
          </p:cNvPr>
          <p:cNvGrpSpPr/>
          <p:nvPr/>
        </p:nvGrpSpPr>
        <p:grpSpPr>
          <a:xfrm>
            <a:off x="575303" y="1366033"/>
            <a:ext cx="2520000" cy="617414"/>
            <a:chOff x="575303" y="1762209"/>
            <a:chExt cx="2830337" cy="61741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62565E8-7513-42AF-AE96-09BBDCDFEFCD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on Smith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E47360E-A397-4D0E-AF18-A9222E002273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Developer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38631BD-6712-4A98-B955-40DDA240EBFA}"/>
              </a:ext>
            </a:extLst>
          </p:cNvPr>
          <p:cNvGrpSpPr/>
          <p:nvPr/>
        </p:nvGrpSpPr>
        <p:grpSpPr>
          <a:xfrm>
            <a:off x="3356801" y="1367227"/>
            <a:ext cx="2520000" cy="617414"/>
            <a:chOff x="575303" y="1762209"/>
            <a:chExt cx="2830337" cy="61741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4C77A13-2767-4007-92F9-756384300F02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on.Smith@RevealGroup.com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D2E7AB6-0C8A-4F3C-9976-BC27D66A19E7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Email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23EED79-86B8-44DC-8B82-2997E7F06FB8}"/>
              </a:ext>
            </a:extLst>
          </p:cNvPr>
          <p:cNvGrpSpPr/>
          <p:nvPr/>
        </p:nvGrpSpPr>
        <p:grpSpPr>
          <a:xfrm>
            <a:off x="6170400" y="3255928"/>
            <a:ext cx="5298095" cy="1227006"/>
            <a:chOff x="575303" y="1762209"/>
            <a:chExt cx="2830338" cy="1352354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2BE718B-E554-4CDB-8D88-0BA607180785}"/>
                </a:ext>
              </a:extLst>
            </p:cNvPr>
            <p:cNvSpPr/>
            <p:nvPr/>
          </p:nvSpPr>
          <p:spPr>
            <a:xfrm>
              <a:off x="575303" y="2046282"/>
              <a:ext cx="2830338" cy="106828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bg2"/>
                  </a:solidFill>
                </a:rPr>
                <a:t>Examples: Anticipated downstream impact, notable challenges, rework required for resubmission…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E9DFCDC-8EDE-4B00-9B80-246D19E707FF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 dirty="0"/>
                <a:t>Note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2A166B2-A144-412A-9CAD-1BD5E0D1BB20}"/>
              </a:ext>
            </a:extLst>
          </p:cNvPr>
          <p:cNvGrpSpPr/>
          <p:nvPr/>
        </p:nvGrpSpPr>
        <p:grpSpPr>
          <a:xfrm>
            <a:off x="573399" y="1982396"/>
            <a:ext cx="2520000" cy="617414"/>
            <a:chOff x="575303" y="1762209"/>
            <a:chExt cx="2830337" cy="617414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3656E8E-9EF5-4ABF-89FE-ACFA4E91350D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ane Smith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CBA6EC6-4E75-4031-B7BE-C1F69902C262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Functional Champion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6B81B07-4D39-434B-86AD-3D2CA10613F1}"/>
              </a:ext>
            </a:extLst>
          </p:cNvPr>
          <p:cNvGrpSpPr/>
          <p:nvPr/>
        </p:nvGrpSpPr>
        <p:grpSpPr>
          <a:xfrm>
            <a:off x="3364597" y="1982396"/>
            <a:ext cx="2520000" cy="617414"/>
            <a:chOff x="575303" y="1762209"/>
            <a:chExt cx="2830337" cy="617414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9BC2E75-517E-44F9-AF78-66A5E3889640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ane.Smith@RevealGroup.com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C42567C8-5DB0-48DE-9ED0-6CF577223DBB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Email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A4873C7-9767-4152-8A10-A4B7FA77E47F}"/>
              </a:ext>
            </a:extLst>
          </p:cNvPr>
          <p:cNvGrpSpPr/>
          <p:nvPr/>
        </p:nvGrpSpPr>
        <p:grpSpPr>
          <a:xfrm>
            <a:off x="575308" y="2632932"/>
            <a:ext cx="2520000" cy="617414"/>
            <a:chOff x="575303" y="1762209"/>
            <a:chExt cx="2830337" cy="61741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1964056-56DB-4B77-B972-272018D2EE1D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ason Smith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875B987-9A5E-41CC-816D-CDAF128AEDA1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Design Authority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DE732FE-3C2E-4448-A6F9-26B510BD04F2}"/>
              </a:ext>
            </a:extLst>
          </p:cNvPr>
          <p:cNvGrpSpPr/>
          <p:nvPr/>
        </p:nvGrpSpPr>
        <p:grpSpPr>
          <a:xfrm>
            <a:off x="3364597" y="2632932"/>
            <a:ext cx="2520000" cy="617414"/>
            <a:chOff x="575303" y="1762209"/>
            <a:chExt cx="2830337" cy="617414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E09269A8-374A-482C-8170-8F50EBF6213D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ason.Smith@RevealGroup.com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7E53D01-6A65-4DC9-AFA3-0B20E0650DA8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Email</a:t>
              </a: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FFBB677D-14B1-4306-A64B-9D1768B706B6}"/>
              </a:ext>
            </a:extLst>
          </p:cNvPr>
          <p:cNvSpPr txBox="1"/>
          <p:nvPr/>
        </p:nvSpPr>
        <p:spPr>
          <a:xfrm>
            <a:off x="6170400" y="1374830"/>
            <a:ext cx="2756965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400" b="1">
                <a:solidFill>
                  <a:schemeClr val="tx2">
                    <a:lumMod val="75000"/>
                  </a:schemeClr>
                </a:solidFill>
              </a:rPr>
              <a:t>Highlight the Checkpoint Outcom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6421877-D66E-4C93-9065-0846C471CC38}"/>
              </a:ext>
            </a:extLst>
          </p:cNvPr>
          <p:cNvGrpSpPr/>
          <p:nvPr/>
        </p:nvGrpSpPr>
        <p:grpSpPr>
          <a:xfrm>
            <a:off x="6086523" y="1621318"/>
            <a:ext cx="1035870" cy="1412358"/>
            <a:chOff x="5595518" y="1547190"/>
            <a:chExt cx="1035870" cy="1412358"/>
          </a:xfrm>
        </p:grpSpPr>
        <p:pic>
          <p:nvPicPr>
            <p:cNvPr id="106" name="Graphic 105" descr="Checkbox Checked">
              <a:extLst>
                <a:ext uri="{FF2B5EF4-FFF2-40B4-BE49-F238E27FC236}">
                  <a16:creationId xmlns:a16="http://schemas.microsoft.com/office/drawing/2014/main" id="{167C8048-8E62-4D4B-8043-B9A3EDC2E2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663453" y="1547190"/>
              <a:ext cx="900000" cy="900000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48E69371-B3A4-43E4-9B00-E3348B1323DD}"/>
                </a:ext>
              </a:extLst>
            </p:cNvPr>
            <p:cNvSpPr txBox="1"/>
            <p:nvPr/>
          </p:nvSpPr>
          <p:spPr>
            <a:xfrm>
              <a:off x="5595518" y="2313217"/>
              <a:ext cx="103587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Approved for Citizen Development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CEDDAC-D52C-4EB3-A210-7F046A673A72}"/>
              </a:ext>
            </a:extLst>
          </p:cNvPr>
          <p:cNvGrpSpPr/>
          <p:nvPr/>
        </p:nvGrpSpPr>
        <p:grpSpPr>
          <a:xfrm>
            <a:off x="7474093" y="1711318"/>
            <a:ext cx="904499" cy="1322358"/>
            <a:chOff x="6983088" y="1637190"/>
            <a:chExt cx="904499" cy="1322358"/>
          </a:xfrm>
        </p:grpSpPr>
        <p:pic>
          <p:nvPicPr>
            <p:cNvPr id="104" name="Graphic 103" descr="Clipboard Partially Crossed">
              <a:extLst>
                <a:ext uri="{FF2B5EF4-FFF2-40B4-BE49-F238E27FC236}">
                  <a16:creationId xmlns:a16="http://schemas.microsoft.com/office/drawing/2014/main" id="{E9809F5D-91E1-4BE4-AB7B-C4B5ADD9A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075337" y="1637190"/>
              <a:ext cx="720000" cy="720000"/>
            </a:xfrm>
            <a:prstGeom prst="rect">
              <a:avLst/>
            </a:prstGeom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F9EE5D7C-8107-4682-804A-40756AA4B790}"/>
                </a:ext>
              </a:extLst>
            </p:cNvPr>
            <p:cNvSpPr txBox="1"/>
            <p:nvPr/>
          </p:nvSpPr>
          <p:spPr>
            <a:xfrm>
              <a:off x="6983088" y="2313217"/>
              <a:ext cx="90449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Resubmit (see notes)</a:t>
              </a:r>
              <a:br>
                <a:rPr lang="en-US" sz="1200"/>
              </a:br>
              <a:endParaRPr lang="en-US" sz="120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E2E6C1D-846C-4142-AC18-9067BDB6441E}"/>
              </a:ext>
            </a:extLst>
          </p:cNvPr>
          <p:cNvGrpSpPr/>
          <p:nvPr/>
        </p:nvGrpSpPr>
        <p:grpSpPr>
          <a:xfrm>
            <a:off x="10191542" y="1621318"/>
            <a:ext cx="1054142" cy="1412358"/>
            <a:chOff x="9700537" y="1547190"/>
            <a:chExt cx="1054142" cy="1412358"/>
          </a:xfrm>
        </p:grpSpPr>
        <p:pic>
          <p:nvPicPr>
            <p:cNvPr id="102" name="Graphic 101" descr="Checkbox Crossed">
              <a:extLst>
                <a:ext uri="{FF2B5EF4-FFF2-40B4-BE49-F238E27FC236}">
                  <a16:creationId xmlns:a16="http://schemas.microsoft.com/office/drawing/2014/main" id="{F07E48BA-5A45-4C6B-AC9F-B13815200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9777608" y="1547190"/>
              <a:ext cx="900000" cy="900000"/>
            </a:xfrm>
            <a:prstGeom prst="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4661BBBE-95C6-4565-89F9-F55AF364046A}"/>
                </a:ext>
              </a:extLst>
            </p:cNvPr>
            <p:cNvSpPr txBox="1"/>
            <p:nvPr/>
          </p:nvSpPr>
          <p:spPr>
            <a:xfrm>
              <a:off x="9700537" y="2313217"/>
              <a:ext cx="105414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Not an Automation Candidate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F51814C-A6AD-4A8C-BF1A-1FFE2370DDB3}"/>
              </a:ext>
            </a:extLst>
          </p:cNvPr>
          <p:cNvGrpSpPr/>
          <p:nvPr/>
        </p:nvGrpSpPr>
        <p:grpSpPr>
          <a:xfrm>
            <a:off x="8730292" y="1711318"/>
            <a:ext cx="1109550" cy="1322358"/>
            <a:chOff x="8239287" y="1637190"/>
            <a:chExt cx="1109550" cy="1322358"/>
          </a:xfrm>
        </p:grpSpPr>
        <p:pic>
          <p:nvPicPr>
            <p:cNvPr id="100" name="Graphic 99" descr="Programmer">
              <a:extLst>
                <a:ext uri="{FF2B5EF4-FFF2-40B4-BE49-F238E27FC236}">
                  <a16:creationId xmlns:a16="http://schemas.microsoft.com/office/drawing/2014/main" id="{A0701234-CD49-41AD-9F64-DF02D323A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8434062" y="1637190"/>
              <a:ext cx="720000" cy="720000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5F50751A-3EFE-41EB-B0F3-F2DEB2BCDA0F}"/>
                </a:ext>
              </a:extLst>
            </p:cNvPr>
            <p:cNvSpPr txBox="1"/>
            <p:nvPr/>
          </p:nvSpPr>
          <p:spPr>
            <a:xfrm>
              <a:off x="8239287" y="2313217"/>
              <a:ext cx="11095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Escalate for Core RPA Development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AD8497-3E48-424B-A43F-2C2ECB219976}"/>
              </a:ext>
            </a:extLst>
          </p:cNvPr>
          <p:cNvGrpSpPr/>
          <p:nvPr/>
        </p:nvGrpSpPr>
        <p:grpSpPr>
          <a:xfrm>
            <a:off x="6932416" y="5385432"/>
            <a:ext cx="3686843" cy="929197"/>
            <a:chOff x="5595518" y="5385432"/>
            <a:chExt cx="3686843" cy="92919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68AF0A3-4500-491E-92C4-16BA910C67CF}"/>
                </a:ext>
              </a:extLst>
            </p:cNvPr>
            <p:cNvGrpSpPr/>
            <p:nvPr/>
          </p:nvGrpSpPr>
          <p:grpSpPr>
            <a:xfrm>
              <a:off x="5595518" y="5568312"/>
              <a:ext cx="976598" cy="746317"/>
              <a:chOff x="5595518" y="5568312"/>
              <a:chExt cx="976598" cy="746317"/>
            </a:xfrm>
          </p:grpSpPr>
          <p:pic>
            <p:nvPicPr>
              <p:cNvPr id="93" name="Graphic 92" descr="Shirt">
                <a:extLst>
                  <a:ext uri="{FF2B5EF4-FFF2-40B4-BE49-F238E27FC236}">
                    <a16:creationId xmlns:a16="http://schemas.microsoft.com/office/drawing/2014/main" id="{C7474822-C328-46BF-81A2-CAF50901EE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5900937" y="5568312"/>
                <a:ext cx="365760" cy="365760"/>
              </a:xfrm>
              <a:prstGeom prst="rect">
                <a:avLst/>
              </a:prstGeom>
            </p:spPr>
          </p:pic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6DEE2EE-E15A-4F73-9E70-51D23CDA4F30}"/>
                  </a:ext>
                </a:extLst>
              </p:cNvPr>
              <p:cNvSpPr txBox="1"/>
              <p:nvPr/>
            </p:nvSpPr>
            <p:spPr>
              <a:xfrm>
                <a:off x="5595518" y="6037630"/>
                <a:ext cx="97659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Small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C824380-09D3-4BEA-B759-3B68DBF1B993}"/>
                </a:ext>
              </a:extLst>
            </p:cNvPr>
            <p:cNvGrpSpPr/>
            <p:nvPr/>
          </p:nvGrpSpPr>
          <p:grpSpPr>
            <a:xfrm>
              <a:off x="8305763" y="5385432"/>
              <a:ext cx="976598" cy="929197"/>
              <a:chOff x="8390511" y="5385432"/>
              <a:chExt cx="976598" cy="929197"/>
            </a:xfrm>
          </p:grpSpPr>
          <p:pic>
            <p:nvPicPr>
              <p:cNvPr id="98" name="Graphic 97">
                <a:extLst>
                  <a:ext uri="{FF2B5EF4-FFF2-40B4-BE49-F238E27FC236}">
                    <a16:creationId xmlns:a16="http://schemas.microsoft.com/office/drawing/2014/main" id="{070FD4E9-C62B-4095-B791-22742AF1CC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8513050" y="5385432"/>
                <a:ext cx="731520" cy="731520"/>
              </a:xfrm>
              <a:prstGeom prst="rect">
                <a:avLst/>
              </a:prstGeom>
            </p:spPr>
          </p:pic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EE7F1BF4-CABC-47D4-B18E-AAB12C69633F}"/>
                  </a:ext>
                </a:extLst>
              </p:cNvPr>
              <p:cNvSpPr txBox="1"/>
              <p:nvPr/>
            </p:nvSpPr>
            <p:spPr>
              <a:xfrm>
                <a:off x="8390511" y="6037630"/>
                <a:ext cx="97659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Large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3DB49D1-1B77-4F3C-9AC3-A3E00A708B22}"/>
                </a:ext>
              </a:extLst>
            </p:cNvPr>
            <p:cNvGrpSpPr/>
            <p:nvPr/>
          </p:nvGrpSpPr>
          <p:grpSpPr>
            <a:xfrm>
              <a:off x="6950640" y="5476872"/>
              <a:ext cx="976598" cy="837757"/>
              <a:chOff x="6993014" y="5476872"/>
              <a:chExt cx="976598" cy="837757"/>
            </a:xfrm>
          </p:grpSpPr>
          <p:pic>
            <p:nvPicPr>
              <p:cNvPr id="114" name="Graphic 113">
                <a:extLst>
                  <a:ext uri="{FF2B5EF4-FFF2-40B4-BE49-F238E27FC236}">
                    <a16:creationId xmlns:a16="http://schemas.microsoft.com/office/drawing/2014/main" id="{200EBB5E-C4F6-4441-9383-54FD05EFA8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7206993" y="5476872"/>
                <a:ext cx="548640" cy="548640"/>
              </a:xfrm>
              <a:prstGeom prst="rect">
                <a:avLst/>
              </a:prstGeom>
            </p:spPr>
          </p:pic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D0722049-4ADB-44FC-8BC0-61435D9B83BF}"/>
                  </a:ext>
                </a:extLst>
              </p:cNvPr>
              <p:cNvSpPr txBox="1"/>
              <p:nvPr/>
            </p:nvSpPr>
            <p:spPr>
              <a:xfrm>
                <a:off x="6993014" y="6037630"/>
                <a:ext cx="97659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Medium</a:t>
                </a:r>
              </a:p>
            </p:txBody>
          </p:sp>
        </p:grp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255A5608-4C1E-44DD-9E6E-AC85B9CCE003}"/>
              </a:ext>
            </a:extLst>
          </p:cNvPr>
          <p:cNvSpPr txBox="1"/>
          <p:nvPr/>
        </p:nvSpPr>
        <p:spPr>
          <a:xfrm>
            <a:off x="6153706" y="5151318"/>
            <a:ext cx="3195841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400" b="1" dirty="0">
                <a:solidFill>
                  <a:srgbClr val="006399"/>
                </a:solidFill>
              </a:rPr>
              <a:t>Highlight anticipated development </a:t>
            </a:r>
            <a:r>
              <a:rPr lang="en-US" sz="1400" b="1" u="sng" dirty="0">
                <a:solidFill>
                  <a:srgbClr val="006399"/>
                </a:solidFill>
              </a:rPr>
              <a:t>effor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1435C95-1505-4B22-A945-B432D87FCD3B}"/>
              </a:ext>
            </a:extLst>
          </p:cNvPr>
          <p:cNvGrpSpPr/>
          <p:nvPr/>
        </p:nvGrpSpPr>
        <p:grpSpPr>
          <a:xfrm>
            <a:off x="572300" y="3892125"/>
            <a:ext cx="5213122" cy="1328122"/>
            <a:chOff x="575303" y="3720378"/>
            <a:chExt cx="4792991" cy="1328122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F30980C-1F4A-4C9F-ACDB-BD7C86DE9037}"/>
                </a:ext>
              </a:extLst>
            </p:cNvPr>
            <p:cNvSpPr txBox="1"/>
            <p:nvPr/>
          </p:nvSpPr>
          <p:spPr>
            <a:xfrm>
              <a:off x="575303" y="3720378"/>
              <a:ext cx="2756965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>
                  <a:solidFill>
                    <a:schemeClr val="accent1"/>
                  </a:solidFill>
                </a:rPr>
                <a:t>Highlight all applicable </a:t>
              </a:r>
              <a:r>
                <a:rPr lang="en-US" sz="1400" b="1" u="sng">
                  <a:solidFill>
                    <a:schemeClr val="accent1"/>
                  </a:solidFill>
                </a:rPr>
                <a:t>values</a:t>
              </a: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B462D2DA-D53E-45DD-9BB1-E8D500921426}"/>
                </a:ext>
              </a:extLst>
            </p:cNvPr>
            <p:cNvGrpSpPr/>
            <p:nvPr/>
          </p:nvGrpSpPr>
          <p:grpSpPr>
            <a:xfrm>
              <a:off x="576515" y="3971654"/>
              <a:ext cx="976598" cy="934957"/>
              <a:chOff x="419866" y="4263387"/>
              <a:chExt cx="976598" cy="934957"/>
            </a:xfrm>
          </p:grpSpPr>
          <p:pic>
            <p:nvPicPr>
              <p:cNvPr id="67" name="Graphic 66" descr="Stopwatch 75%">
                <a:extLst>
                  <a:ext uri="{FF2B5EF4-FFF2-40B4-BE49-F238E27FC236}">
                    <a16:creationId xmlns:a16="http://schemas.microsoft.com/office/drawing/2014/main" id="{4D005EE8-ECF2-4C45-A346-F3A17F3E01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27894" y="426338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D3A20BE9-40B8-4888-B8E4-5BC04CDE0925}"/>
                  </a:ext>
                </a:extLst>
              </p:cNvPr>
              <p:cNvSpPr txBox="1"/>
              <p:nvPr/>
            </p:nvSpPr>
            <p:spPr>
              <a:xfrm>
                <a:off x="419866" y="4921345"/>
                <a:ext cx="97659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Save Time</a:t>
                </a:r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B9EFA196-252B-41F3-B982-27BDD6BB062A}"/>
                </a:ext>
              </a:extLst>
            </p:cNvPr>
            <p:cNvGrpSpPr/>
            <p:nvPr/>
          </p:nvGrpSpPr>
          <p:grpSpPr>
            <a:xfrm>
              <a:off x="1862634" y="3971654"/>
              <a:ext cx="782198" cy="1076846"/>
              <a:chOff x="1646867" y="4225504"/>
              <a:chExt cx="782198" cy="1076846"/>
            </a:xfrm>
          </p:grpSpPr>
          <p:pic>
            <p:nvPicPr>
              <p:cNvPr id="70" name="Graphic 69" descr="Bar graph with upward trend">
                <a:extLst>
                  <a:ext uri="{FF2B5EF4-FFF2-40B4-BE49-F238E27FC236}">
                    <a16:creationId xmlns:a16="http://schemas.microsoft.com/office/drawing/2014/main" id="{C6CBAF36-7402-4639-9F29-2462ECC897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rcRect/>
              <a:stretch/>
            </p:blipFill>
            <p:spPr>
              <a:xfrm>
                <a:off x="1709065" y="422550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3D68B873-9EF0-44A2-91B3-CEDEA13E301A}"/>
                  </a:ext>
                </a:extLst>
              </p:cNvPr>
              <p:cNvSpPr txBox="1"/>
              <p:nvPr/>
            </p:nvSpPr>
            <p:spPr>
              <a:xfrm>
                <a:off x="1646867" y="4840685"/>
                <a:ext cx="78219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Generate Revenue</a:t>
                </a: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0655C900-221B-497A-A2E9-4962DA545E7B}"/>
                </a:ext>
              </a:extLst>
            </p:cNvPr>
            <p:cNvGrpSpPr/>
            <p:nvPr/>
          </p:nvGrpSpPr>
          <p:grpSpPr>
            <a:xfrm>
              <a:off x="2954353" y="3971654"/>
              <a:ext cx="994871" cy="943550"/>
              <a:chOff x="2804281" y="4215481"/>
              <a:chExt cx="994871" cy="943550"/>
            </a:xfrm>
          </p:grpSpPr>
          <p:pic>
            <p:nvPicPr>
              <p:cNvPr id="73" name="Graphic 72" descr="Radioactive">
                <a:extLst>
                  <a:ext uri="{FF2B5EF4-FFF2-40B4-BE49-F238E27FC236}">
                    <a16:creationId xmlns:a16="http://schemas.microsoft.com/office/drawing/2014/main" id="{9E0A6605-B87A-49BE-B817-5F33BE01BA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2917934" y="421548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9BF70D68-CA36-4714-BA9F-BCD60D5A3877}"/>
                  </a:ext>
                </a:extLst>
              </p:cNvPr>
              <p:cNvSpPr txBox="1"/>
              <p:nvPr/>
            </p:nvSpPr>
            <p:spPr>
              <a:xfrm>
                <a:off x="2804281" y="4882032"/>
                <a:ext cx="99487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Reduce Risk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68727E9-24C6-480A-97E8-BC39395BD9C6}"/>
                </a:ext>
              </a:extLst>
            </p:cNvPr>
            <p:cNvGrpSpPr/>
            <p:nvPr/>
          </p:nvGrpSpPr>
          <p:grpSpPr>
            <a:xfrm>
              <a:off x="4258744" y="3971654"/>
              <a:ext cx="1109550" cy="929809"/>
              <a:chOff x="3978811" y="4265074"/>
              <a:chExt cx="1109550" cy="929809"/>
            </a:xfrm>
          </p:grpSpPr>
          <p:pic>
            <p:nvPicPr>
              <p:cNvPr id="76" name="Graphic 75" descr="Contract">
                <a:extLst>
                  <a:ext uri="{FF2B5EF4-FFF2-40B4-BE49-F238E27FC236}">
                    <a16:creationId xmlns:a16="http://schemas.microsoft.com/office/drawing/2014/main" id="{78D0D950-4AC9-43F3-8165-5A28B359D7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>
              <a:xfrm>
                <a:off x="4118112" y="426507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1F7BD6B9-B12A-40BB-A154-59A5147F4DA2}"/>
                  </a:ext>
                </a:extLst>
              </p:cNvPr>
              <p:cNvSpPr txBox="1"/>
              <p:nvPr/>
            </p:nvSpPr>
            <p:spPr>
              <a:xfrm>
                <a:off x="3978811" y="4917884"/>
                <a:ext cx="110955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/>
                  <a:t>Tighten SLAs</a:t>
                </a: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0D91DB1-BFBB-4219-853F-0562D4DC7D89}"/>
              </a:ext>
            </a:extLst>
          </p:cNvPr>
          <p:cNvGrpSpPr/>
          <p:nvPr/>
        </p:nvGrpSpPr>
        <p:grpSpPr>
          <a:xfrm>
            <a:off x="576515" y="5151318"/>
            <a:ext cx="5019003" cy="1347977"/>
            <a:chOff x="576515" y="5151318"/>
            <a:chExt cx="4710563" cy="1347977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9C7EBE8B-640F-414C-AA04-CFBC81146A86}"/>
                </a:ext>
              </a:extLst>
            </p:cNvPr>
            <p:cNvGrpSpPr/>
            <p:nvPr/>
          </p:nvGrpSpPr>
          <p:grpSpPr>
            <a:xfrm>
              <a:off x="1796624" y="5379672"/>
              <a:ext cx="976598" cy="1119623"/>
              <a:chOff x="419866" y="4263387"/>
              <a:chExt cx="976598" cy="1119623"/>
            </a:xfrm>
          </p:grpSpPr>
          <p:pic>
            <p:nvPicPr>
              <p:cNvPr id="79" name="Graphic 78">
                <a:extLst>
                  <a:ext uri="{FF2B5EF4-FFF2-40B4-BE49-F238E27FC236}">
                    <a16:creationId xmlns:a16="http://schemas.microsoft.com/office/drawing/2014/main" id="{9B376954-289F-461B-B244-8E36432E6F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rcRect/>
              <a:stretch/>
            </p:blipFill>
            <p:spPr>
              <a:xfrm>
                <a:off x="527894" y="426338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9457CA29-175E-4760-817D-74592A037830}"/>
                  </a:ext>
                </a:extLst>
              </p:cNvPr>
              <p:cNvSpPr txBox="1"/>
              <p:nvPr/>
            </p:nvSpPr>
            <p:spPr>
              <a:xfrm>
                <a:off x="419866" y="4921345"/>
                <a:ext cx="97659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Structured</a:t>
                </a:r>
              </a:p>
              <a:p>
                <a:pPr algn="ctr"/>
                <a:r>
                  <a:rPr lang="en-US" sz="1200"/>
                  <a:t>Input Data</a:t>
                </a: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86780858-DD35-400B-B284-87CADF5C1EB5}"/>
                </a:ext>
              </a:extLst>
            </p:cNvPr>
            <p:cNvGrpSpPr/>
            <p:nvPr/>
          </p:nvGrpSpPr>
          <p:grpSpPr>
            <a:xfrm>
              <a:off x="580855" y="5379672"/>
              <a:ext cx="976598" cy="1119623"/>
              <a:chOff x="419866" y="4263387"/>
              <a:chExt cx="976598" cy="1119623"/>
            </a:xfrm>
          </p:grpSpPr>
          <p:pic>
            <p:nvPicPr>
              <p:cNvPr id="82" name="Graphic 81">
                <a:extLst>
                  <a:ext uri="{FF2B5EF4-FFF2-40B4-BE49-F238E27FC236}">
                    <a16:creationId xmlns:a16="http://schemas.microsoft.com/office/drawing/2014/main" id="{CA84242E-1474-454F-8471-9433801E5F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rcRect/>
              <a:stretch/>
            </p:blipFill>
            <p:spPr>
              <a:xfrm>
                <a:off x="527894" y="426338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96477658-D0A6-4716-9C58-B2AC98437805}"/>
                  </a:ext>
                </a:extLst>
              </p:cNvPr>
              <p:cNvSpPr txBox="1"/>
              <p:nvPr/>
            </p:nvSpPr>
            <p:spPr>
              <a:xfrm>
                <a:off x="419866" y="4921345"/>
                <a:ext cx="97659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Digital</a:t>
                </a:r>
              </a:p>
              <a:p>
                <a:pPr algn="ctr"/>
                <a:r>
                  <a:rPr lang="en-US" sz="1200"/>
                  <a:t>Input Data</a:t>
                </a:r>
              </a:p>
            </p:txBody>
          </p: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3AB817CA-885E-4B5E-8763-3B13000ED3FE}"/>
                </a:ext>
              </a:extLst>
            </p:cNvPr>
            <p:cNvGrpSpPr/>
            <p:nvPr/>
          </p:nvGrpSpPr>
          <p:grpSpPr>
            <a:xfrm>
              <a:off x="3012393" y="5379672"/>
              <a:ext cx="976598" cy="1119623"/>
              <a:chOff x="419866" y="4263387"/>
              <a:chExt cx="976598" cy="1119623"/>
            </a:xfrm>
          </p:grpSpPr>
          <p:pic>
            <p:nvPicPr>
              <p:cNvPr id="85" name="Graphic 84" descr="Scales of justice">
                <a:extLst>
                  <a:ext uri="{FF2B5EF4-FFF2-40B4-BE49-F238E27FC236}">
                    <a16:creationId xmlns:a16="http://schemas.microsoft.com/office/drawing/2014/main" id="{6334BA0D-AFD0-48E9-BE29-31E702A1CA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rcRect/>
              <a:stretch/>
            </p:blipFill>
            <p:spPr>
              <a:xfrm>
                <a:off x="527894" y="426338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F472163A-03A8-43FF-8C4F-144F8ADBD677}"/>
                  </a:ext>
                </a:extLst>
              </p:cNvPr>
              <p:cNvSpPr txBox="1"/>
              <p:nvPr/>
            </p:nvSpPr>
            <p:spPr>
              <a:xfrm>
                <a:off x="419866" y="4921345"/>
                <a:ext cx="97659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Stable Process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E62241E2-8558-425F-9A23-1ECB9BF98AF4}"/>
                </a:ext>
              </a:extLst>
            </p:cNvPr>
            <p:cNvGrpSpPr/>
            <p:nvPr/>
          </p:nvGrpSpPr>
          <p:grpSpPr>
            <a:xfrm>
              <a:off x="4228163" y="5379672"/>
              <a:ext cx="1058915" cy="1119623"/>
              <a:chOff x="419865" y="4263387"/>
              <a:chExt cx="1058915" cy="1119623"/>
            </a:xfrm>
          </p:grpSpPr>
          <p:pic>
            <p:nvPicPr>
              <p:cNvPr id="88" name="Graphic 87" descr="Checklist">
                <a:extLst>
                  <a:ext uri="{FF2B5EF4-FFF2-40B4-BE49-F238E27FC236}">
                    <a16:creationId xmlns:a16="http://schemas.microsoft.com/office/drawing/2014/main" id="{C03F4A35-53F1-40E0-8419-3287EF55A0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rcRect/>
              <a:stretch/>
            </p:blipFill>
            <p:spPr>
              <a:xfrm>
                <a:off x="589322" y="4263387"/>
                <a:ext cx="720000" cy="720000"/>
              </a:xfrm>
              <a:prstGeom prst="rect">
                <a:avLst/>
              </a:prstGeom>
            </p:spPr>
          </p:pic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4713E039-ADEC-406C-81FD-85C6D272E739}"/>
                  </a:ext>
                </a:extLst>
              </p:cNvPr>
              <p:cNvSpPr txBox="1"/>
              <p:nvPr/>
            </p:nvSpPr>
            <p:spPr>
              <a:xfrm>
                <a:off x="419865" y="4921345"/>
                <a:ext cx="105891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Standardized Process</a:t>
                </a:r>
              </a:p>
            </p:txBody>
          </p:sp>
        </p:grp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B3433D60-6FCC-46EC-9BE8-62EA8C3130A6}"/>
                </a:ext>
              </a:extLst>
            </p:cNvPr>
            <p:cNvSpPr txBox="1"/>
            <p:nvPr/>
          </p:nvSpPr>
          <p:spPr>
            <a:xfrm>
              <a:off x="576515" y="5151318"/>
              <a:ext cx="3195842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Highlight all applicable </a:t>
              </a:r>
              <a:r>
                <a:rPr lang="en-US" sz="1400" b="1" u="sng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ease</a:t>
              </a:r>
              <a:r>
                <a:rPr lang="en-US" sz="1400" b="1" dirty="0">
                  <a:solidFill>
                    <a:schemeClr val="accent1">
                      <a:lumMod val="40000"/>
                      <a:lumOff val="60000"/>
                    </a:schemeClr>
                  </a:solidFill>
                </a:rPr>
                <a:t> drivers</a:t>
              </a:r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49C630E7-17EF-497E-8A80-5129FC1F700F}"/>
              </a:ext>
            </a:extLst>
          </p:cNvPr>
          <p:cNvSpPr/>
          <p:nvPr/>
        </p:nvSpPr>
        <p:spPr>
          <a:xfrm>
            <a:off x="575304" y="3532908"/>
            <a:ext cx="5298095" cy="3333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Value &amp; Ease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8CB21B5-15BA-4D5F-B3CF-B57F8EF0EE3C}"/>
              </a:ext>
            </a:extLst>
          </p:cNvPr>
          <p:cNvGrpSpPr/>
          <p:nvPr/>
        </p:nvGrpSpPr>
        <p:grpSpPr>
          <a:xfrm>
            <a:off x="6153706" y="4523649"/>
            <a:ext cx="2520000" cy="617414"/>
            <a:chOff x="575303" y="1762209"/>
            <a:chExt cx="1386617" cy="617414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2652C7C-E942-4C42-AD6A-C3AFC4A3187B}"/>
                </a:ext>
              </a:extLst>
            </p:cNvPr>
            <p:cNvSpPr/>
            <p:nvPr/>
          </p:nvSpPr>
          <p:spPr>
            <a:xfrm>
              <a:off x="575303" y="2046282"/>
              <a:ext cx="1386616" cy="3333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D6F0C79-090E-4BA9-AE28-1B5A8DCAE1B6}"/>
                </a:ext>
              </a:extLst>
            </p:cNvPr>
            <p:cNvSpPr txBox="1"/>
            <p:nvPr/>
          </p:nvSpPr>
          <p:spPr>
            <a:xfrm>
              <a:off x="575304" y="1762209"/>
              <a:ext cx="1386616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Checkpoint </a:t>
              </a:r>
              <a:r>
                <a:rPr lang="el-GR" sz="1400" b="1"/>
                <a:t>α</a:t>
              </a:r>
              <a:r>
                <a:rPr lang="en-US" sz="1400" b="1"/>
                <a:t> Date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6B356327-E5D0-45F8-B05C-F855E68C586F}"/>
              </a:ext>
            </a:extLst>
          </p:cNvPr>
          <p:cNvGrpSpPr/>
          <p:nvPr/>
        </p:nvGrpSpPr>
        <p:grpSpPr>
          <a:xfrm>
            <a:off x="8948495" y="4523649"/>
            <a:ext cx="2520000" cy="617414"/>
            <a:chOff x="575303" y="1762209"/>
            <a:chExt cx="1386617" cy="617414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50613854-AD76-4859-80CA-609978FC6C62}"/>
                </a:ext>
              </a:extLst>
            </p:cNvPr>
            <p:cNvSpPr/>
            <p:nvPr/>
          </p:nvSpPr>
          <p:spPr>
            <a:xfrm>
              <a:off x="575303" y="2046282"/>
              <a:ext cx="1386616" cy="3333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3CA26419-C820-45AF-BCE3-D93AAEEE0B7F}"/>
                </a:ext>
              </a:extLst>
            </p:cNvPr>
            <p:cNvSpPr txBox="1"/>
            <p:nvPr/>
          </p:nvSpPr>
          <p:spPr>
            <a:xfrm>
              <a:off x="575304" y="1762209"/>
              <a:ext cx="1386616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 dirty="0"/>
                <a:t>Target Development Date</a:t>
              </a: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F522CC9A-C05A-49DE-9658-FDAC96E49129}"/>
              </a:ext>
            </a:extLst>
          </p:cNvPr>
          <p:cNvGrpSpPr/>
          <p:nvPr/>
        </p:nvGrpSpPr>
        <p:grpSpPr>
          <a:xfrm>
            <a:off x="6777130" y="82628"/>
            <a:ext cx="4685197" cy="405433"/>
            <a:chOff x="4717420" y="4111150"/>
            <a:chExt cx="4685197" cy="405433"/>
          </a:xfrm>
        </p:grpSpPr>
        <p:sp>
          <p:nvSpPr>
            <p:cNvPr id="97" name="Pentagon 17">
              <a:extLst>
                <a:ext uri="{FF2B5EF4-FFF2-40B4-BE49-F238E27FC236}">
                  <a16:creationId xmlns:a16="http://schemas.microsoft.com/office/drawing/2014/main" id="{150F8D06-45A9-407A-963E-6C53D59BFBD7}"/>
                </a:ext>
              </a:extLst>
            </p:cNvPr>
            <p:cNvSpPr/>
            <p:nvPr/>
          </p:nvSpPr>
          <p:spPr>
            <a:xfrm>
              <a:off x="4717420" y="4112258"/>
              <a:ext cx="875215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  <a:latin typeface="+mj-lt"/>
                </a:rPr>
                <a:t>Submit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108" name="AutoShape 7">
              <a:extLst>
                <a:ext uri="{FF2B5EF4-FFF2-40B4-BE49-F238E27FC236}">
                  <a16:creationId xmlns:a16="http://schemas.microsoft.com/office/drawing/2014/main" id="{7B349DB3-ADBD-431D-B265-DC89AA902D48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684149" y="4111150"/>
              <a:ext cx="958269" cy="380521"/>
            </a:xfrm>
            <a:prstGeom prst="diamond">
              <a:avLst/>
            </a:prstGeom>
            <a:noFill/>
            <a:ln w="28575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chemeClr val="accent2"/>
                  </a:solidFill>
                  <a:latin typeface="+mj-lt"/>
                </a:rPr>
                <a:t>α</a:t>
              </a:r>
              <a:endParaRPr lang="en-US" sz="1300" b="1" i="1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09" name="Pentagon 17">
              <a:extLst>
                <a:ext uri="{FF2B5EF4-FFF2-40B4-BE49-F238E27FC236}">
                  <a16:creationId xmlns:a16="http://schemas.microsoft.com/office/drawing/2014/main" id="{9B8876AE-D21B-423D-A1C6-EFECA8C1C08A}"/>
                </a:ext>
              </a:extLst>
            </p:cNvPr>
            <p:cNvSpPr/>
            <p:nvPr/>
          </p:nvSpPr>
          <p:spPr>
            <a:xfrm>
              <a:off x="6622088" y="4112258"/>
              <a:ext cx="875841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</a:rPr>
                <a:t>Build &amp; Test</a:t>
              </a:r>
            </a:p>
          </p:txBody>
        </p:sp>
        <p:sp>
          <p:nvSpPr>
            <p:cNvPr id="121" name="AutoShape 7">
              <a:extLst>
                <a:ext uri="{FF2B5EF4-FFF2-40B4-BE49-F238E27FC236}">
                  <a16:creationId xmlns:a16="http://schemas.microsoft.com/office/drawing/2014/main" id="{07C0C5D7-562B-4843-B3C1-BA61F16FC348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91572" y="4111150"/>
              <a:ext cx="958269" cy="379618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</a:rPr>
                <a:t>β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122" name="Pentagon 17">
              <a:extLst>
                <a:ext uri="{FF2B5EF4-FFF2-40B4-BE49-F238E27FC236}">
                  <a16:creationId xmlns:a16="http://schemas.microsoft.com/office/drawing/2014/main" id="{5B201EF5-EE5E-4704-9FBE-AB1413FC0495}"/>
                </a:ext>
              </a:extLst>
            </p:cNvPr>
            <p:cNvSpPr/>
            <p:nvPr/>
          </p:nvSpPr>
          <p:spPr>
            <a:xfrm>
              <a:off x="8527402" y="4111151"/>
              <a:ext cx="875215" cy="405432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</a:rPr>
                <a:t>Sh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1187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8">
            <a:extLst>
              <a:ext uri="{FF2B5EF4-FFF2-40B4-BE49-F238E27FC236}">
                <a16:creationId xmlns:a16="http://schemas.microsoft.com/office/drawing/2014/main" id="{FBE7315F-E69A-447F-AF68-35E73411D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965" y="488061"/>
            <a:ext cx="11290071" cy="637940"/>
          </a:xfrm>
        </p:spPr>
        <p:txBody>
          <a:bodyPr/>
          <a:lstStyle/>
          <a:p>
            <a:r>
              <a:rPr lang="en-US" dirty="0"/>
              <a:t>Testing Approach: [Task Name]</a:t>
            </a: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AA33BB4-F4B9-4B99-BC10-071CCC1DD942}"/>
              </a:ext>
            </a:extLst>
          </p:cNvPr>
          <p:cNvGrpSpPr/>
          <p:nvPr/>
        </p:nvGrpSpPr>
        <p:grpSpPr>
          <a:xfrm>
            <a:off x="575303" y="3877021"/>
            <a:ext cx="10850400" cy="1568578"/>
            <a:chOff x="575304" y="4251378"/>
            <a:chExt cx="5370711" cy="1568578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D60DC56E-0AB1-47F6-9044-1EED358DD75E}"/>
                </a:ext>
              </a:extLst>
            </p:cNvPr>
            <p:cNvSpPr/>
            <p:nvPr/>
          </p:nvSpPr>
          <p:spPr>
            <a:xfrm>
              <a:off x="575306" y="4251378"/>
              <a:ext cx="5370709" cy="333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/>
                <a:t>Additional Comments &amp; Out of Scope Scenarios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4EA575D3-C70A-4117-974A-CA0021CEA554}"/>
                </a:ext>
              </a:extLst>
            </p:cNvPr>
            <p:cNvSpPr/>
            <p:nvPr/>
          </p:nvSpPr>
          <p:spPr>
            <a:xfrm>
              <a:off x="575304" y="4615322"/>
              <a:ext cx="5370709" cy="120463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135" name="Table 17">
            <a:extLst>
              <a:ext uri="{FF2B5EF4-FFF2-40B4-BE49-F238E27FC236}">
                <a16:creationId xmlns:a16="http://schemas.microsoft.com/office/drawing/2014/main" id="{01D8CD0D-920C-44F0-A783-CCB8CD7C40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0821385"/>
              </p:ext>
            </p:extLst>
          </p:nvPr>
        </p:nvGraphicFramePr>
        <p:xfrm>
          <a:off x="575303" y="1036800"/>
          <a:ext cx="10850400" cy="265542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12600">
                  <a:extLst>
                    <a:ext uri="{9D8B030D-6E8A-4147-A177-3AD203B41FA5}">
                      <a16:colId xmlns:a16="http://schemas.microsoft.com/office/drawing/2014/main" val="4007637943"/>
                    </a:ext>
                  </a:extLst>
                </a:gridCol>
                <a:gridCol w="3612409">
                  <a:extLst>
                    <a:ext uri="{9D8B030D-6E8A-4147-A177-3AD203B41FA5}">
                      <a16:colId xmlns:a16="http://schemas.microsoft.com/office/drawing/2014/main" val="417246402"/>
                    </a:ext>
                  </a:extLst>
                </a:gridCol>
                <a:gridCol w="3312292">
                  <a:extLst>
                    <a:ext uri="{9D8B030D-6E8A-4147-A177-3AD203B41FA5}">
                      <a16:colId xmlns:a16="http://schemas.microsoft.com/office/drawing/2014/main" val="2841005835"/>
                    </a:ext>
                  </a:extLst>
                </a:gridCol>
                <a:gridCol w="1213099">
                  <a:extLst>
                    <a:ext uri="{9D8B030D-6E8A-4147-A177-3AD203B41FA5}">
                      <a16:colId xmlns:a16="http://schemas.microsoft.com/office/drawing/2014/main" val="3046870742"/>
                    </a:ext>
                  </a:extLst>
                </a:gridCol>
              </a:tblGrid>
              <a:tr h="442571">
                <a:tc>
                  <a:txBody>
                    <a:bodyPr/>
                    <a:lstStyle/>
                    <a:p>
                      <a:r>
                        <a:rPr lang="en-US" sz="1600" dirty="0"/>
                        <a:t>Test Nam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escription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xpected Outcom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ass?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324622"/>
                  </a:ext>
                </a:extLst>
              </a:tr>
              <a:tr h="4425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0311676"/>
                  </a:ext>
                </a:extLst>
              </a:tr>
              <a:tr h="4425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4666701"/>
                  </a:ext>
                </a:extLst>
              </a:tr>
              <a:tr h="4425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05455"/>
                  </a:ext>
                </a:extLst>
              </a:tr>
              <a:tr h="4425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7570518"/>
                  </a:ext>
                </a:extLst>
              </a:tr>
              <a:tr h="44257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1845377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3072D534-546B-4C3D-8BE6-41C75E579D0C}"/>
              </a:ext>
            </a:extLst>
          </p:cNvPr>
          <p:cNvGrpSpPr/>
          <p:nvPr/>
        </p:nvGrpSpPr>
        <p:grpSpPr>
          <a:xfrm>
            <a:off x="6777130" y="82628"/>
            <a:ext cx="4685197" cy="405433"/>
            <a:chOff x="4717420" y="4111150"/>
            <a:chExt cx="4685197" cy="405433"/>
          </a:xfrm>
        </p:grpSpPr>
        <p:sp>
          <p:nvSpPr>
            <p:cNvPr id="13" name="Pentagon 17">
              <a:extLst>
                <a:ext uri="{FF2B5EF4-FFF2-40B4-BE49-F238E27FC236}">
                  <a16:creationId xmlns:a16="http://schemas.microsoft.com/office/drawing/2014/main" id="{238B5981-6EB5-44AD-AF63-5367FF525848}"/>
                </a:ext>
              </a:extLst>
            </p:cNvPr>
            <p:cNvSpPr/>
            <p:nvPr/>
          </p:nvSpPr>
          <p:spPr>
            <a:xfrm>
              <a:off x="4717420" y="4112258"/>
              <a:ext cx="875215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  <a:latin typeface="+mj-lt"/>
                </a:rPr>
                <a:t>Submit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14" name="AutoShape 7">
              <a:extLst>
                <a:ext uri="{FF2B5EF4-FFF2-40B4-BE49-F238E27FC236}">
                  <a16:creationId xmlns:a16="http://schemas.microsoft.com/office/drawing/2014/main" id="{66ECD374-7CB9-4669-BBA1-62D566D8745D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684149" y="4111150"/>
              <a:ext cx="958269" cy="380521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  <a:latin typeface="+mj-lt"/>
                </a:rPr>
                <a:t>α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15" name="Pentagon 17">
              <a:extLst>
                <a:ext uri="{FF2B5EF4-FFF2-40B4-BE49-F238E27FC236}">
                  <a16:creationId xmlns:a16="http://schemas.microsoft.com/office/drawing/2014/main" id="{80D81D3C-07E8-4640-9BAF-3D297E175518}"/>
                </a:ext>
              </a:extLst>
            </p:cNvPr>
            <p:cNvSpPr/>
            <p:nvPr/>
          </p:nvSpPr>
          <p:spPr>
            <a:xfrm>
              <a:off x="6622088" y="4112258"/>
              <a:ext cx="875841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chemeClr val="tx2"/>
                  </a:solidFill>
                </a:rPr>
                <a:t>Build &amp; Test</a:t>
              </a:r>
            </a:p>
          </p:txBody>
        </p:sp>
        <p:sp>
          <p:nvSpPr>
            <p:cNvPr id="16" name="AutoShape 7">
              <a:extLst>
                <a:ext uri="{FF2B5EF4-FFF2-40B4-BE49-F238E27FC236}">
                  <a16:creationId xmlns:a16="http://schemas.microsoft.com/office/drawing/2014/main" id="{E5589304-8C39-4F93-A03C-D41D54297AA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91572" y="4111150"/>
              <a:ext cx="958269" cy="379618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</a:rPr>
                <a:t>β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17" name="Pentagon 17">
              <a:extLst>
                <a:ext uri="{FF2B5EF4-FFF2-40B4-BE49-F238E27FC236}">
                  <a16:creationId xmlns:a16="http://schemas.microsoft.com/office/drawing/2014/main" id="{EF9FFA76-6A81-4E7A-AACC-380977F652D0}"/>
                </a:ext>
              </a:extLst>
            </p:cNvPr>
            <p:cNvSpPr/>
            <p:nvPr/>
          </p:nvSpPr>
          <p:spPr>
            <a:xfrm>
              <a:off x="8527402" y="4111151"/>
              <a:ext cx="875215" cy="405432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>
                  <a:solidFill>
                    <a:srgbClr val="D9D9D9"/>
                  </a:solidFill>
                  <a:latin typeface="+mj-lt"/>
                </a:rPr>
                <a:t>Share</a:t>
              </a:r>
              <a:endParaRPr lang="en-US" sz="1300" b="1" dirty="0">
                <a:solidFill>
                  <a:srgbClr val="D9D9D9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66321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33C24-E6E4-416A-ABF5-6596410F9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eckpoint </a:t>
            </a:r>
            <a:r>
              <a:rPr lang="el-GR"/>
              <a:t>β</a:t>
            </a:r>
            <a:r>
              <a:rPr lang="en-US"/>
              <a:t>: [Task Name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115E3E-ECB3-4C9B-A4F4-7F4B16C2E2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749344-81B0-49F9-AB33-6E4934B1AC6F}"/>
              </a:ext>
            </a:extLst>
          </p:cNvPr>
          <p:cNvSpPr/>
          <p:nvPr/>
        </p:nvSpPr>
        <p:spPr>
          <a:xfrm>
            <a:off x="575303" y="1036800"/>
            <a:ext cx="5310000" cy="33334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Task Representativ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6C78BA-C09A-4DA1-82B7-EDB3E6D3313F}"/>
              </a:ext>
            </a:extLst>
          </p:cNvPr>
          <p:cNvSpPr/>
          <p:nvPr/>
        </p:nvSpPr>
        <p:spPr>
          <a:xfrm>
            <a:off x="6170400" y="1036799"/>
            <a:ext cx="5310000" cy="33334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Outcom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9706C8A-EDD5-43F1-B7F0-F518E72EF654}"/>
              </a:ext>
            </a:extLst>
          </p:cNvPr>
          <p:cNvGrpSpPr/>
          <p:nvPr/>
        </p:nvGrpSpPr>
        <p:grpSpPr>
          <a:xfrm>
            <a:off x="6207203" y="3255880"/>
            <a:ext cx="5273197" cy="1849454"/>
            <a:chOff x="5614868" y="3255880"/>
            <a:chExt cx="4960351" cy="1849454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4BFE6E6-B214-49A7-94DB-A33C392B6611}"/>
                </a:ext>
              </a:extLst>
            </p:cNvPr>
            <p:cNvSpPr/>
            <p:nvPr/>
          </p:nvSpPr>
          <p:spPr>
            <a:xfrm>
              <a:off x="5614868" y="3533024"/>
              <a:ext cx="4960351" cy="15723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bg2"/>
                  </a:solidFill>
                </a:rPr>
                <a:t>Examples: Anticipated deployment impact, notable challenges for deployment, testing scenarios required, development details required, enterprise escalation details…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A522D38-F760-42D9-960D-C5F51BEED679}"/>
                </a:ext>
              </a:extLst>
            </p:cNvPr>
            <p:cNvSpPr txBox="1"/>
            <p:nvPr/>
          </p:nvSpPr>
          <p:spPr>
            <a:xfrm>
              <a:off x="5614868" y="3255880"/>
              <a:ext cx="4266789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Note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B292C67-7F47-45A0-9990-13F3B9F824F1}"/>
              </a:ext>
            </a:extLst>
          </p:cNvPr>
          <p:cNvGrpSpPr/>
          <p:nvPr/>
        </p:nvGrpSpPr>
        <p:grpSpPr>
          <a:xfrm>
            <a:off x="6170400" y="1374830"/>
            <a:ext cx="5176614" cy="1569986"/>
            <a:chOff x="5578065" y="1374830"/>
            <a:chExt cx="5176614" cy="1569986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D824DEF9-A36B-447A-AE59-68157ADFC56C}"/>
                </a:ext>
              </a:extLst>
            </p:cNvPr>
            <p:cNvGrpSpPr/>
            <p:nvPr/>
          </p:nvGrpSpPr>
          <p:grpSpPr>
            <a:xfrm>
              <a:off x="9645129" y="1551524"/>
              <a:ext cx="1109550" cy="1393292"/>
              <a:chOff x="3993629" y="4170923"/>
              <a:chExt cx="1109550" cy="1393292"/>
            </a:xfrm>
          </p:grpSpPr>
          <p:pic>
            <p:nvPicPr>
              <p:cNvPr id="64" name="Graphic 63" descr="Programmer">
                <a:extLst>
                  <a:ext uri="{FF2B5EF4-FFF2-40B4-BE49-F238E27FC236}">
                    <a16:creationId xmlns:a16="http://schemas.microsoft.com/office/drawing/2014/main" id="{DBFD49DE-28A0-49D8-BD30-37893A6D16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4188404" y="4170923"/>
                <a:ext cx="720000" cy="720000"/>
              </a:xfrm>
              <a:prstGeom prst="rect">
                <a:avLst/>
              </a:prstGeom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58202669-AD8C-4935-9D3C-C49F9E261627}"/>
                  </a:ext>
                </a:extLst>
              </p:cNvPr>
              <p:cNvSpPr txBox="1"/>
              <p:nvPr/>
            </p:nvSpPr>
            <p:spPr>
              <a:xfrm>
                <a:off x="3993629" y="4917884"/>
                <a:ext cx="110955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Escalate for Enterprise Development</a:t>
                </a:r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C76D4DEE-ED68-4FA0-A43B-F608E9432E78}"/>
                </a:ext>
              </a:extLst>
            </p:cNvPr>
            <p:cNvSpPr txBox="1"/>
            <p:nvPr/>
          </p:nvSpPr>
          <p:spPr>
            <a:xfrm>
              <a:off x="5643441" y="1374830"/>
              <a:ext cx="2756965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>
                  <a:solidFill>
                    <a:schemeClr val="tx2">
                      <a:lumMod val="75000"/>
                    </a:schemeClr>
                  </a:solidFill>
                </a:rPr>
                <a:t>Highlight the Checkpoint Outcome:</a:t>
              </a: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495F095-F478-48F7-A9FD-2C13FBE1B931}"/>
                </a:ext>
              </a:extLst>
            </p:cNvPr>
            <p:cNvGrpSpPr/>
            <p:nvPr/>
          </p:nvGrpSpPr>
          <p:grpSpPr>
            <a:xfrm>
              <a:off x="5578065" y="1560251"/>
              <a:ext cx="1035870" cy="1166275"/>
              <a:chOff x="353278" y="4179650"/>
              <a:chExt cx="1035870" cy="1166275"/>
            </a:xfrm>
          </p:grpSpPr>
          <p:pic>
            <p:nvPicPr>
              <p:cNvPr id="55" name="Graphic 54" descr="Checkbox Checked">
                <a:extLst>
                  <a:ext uri="{FF2B5EF4-FFF2-40B4-BE49-F238E27FC236}">
                    <a16:creationId xmlns:a16="http://schemas.microsoft.com/office/drawing/2014/main" id="{748700EE-1FAB-439A-BA73-53C20E755D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422286" y="4179650"/>
                <a:ext cx="900000" cy="900000"/>
              </a:xfrm>
              <a:prstGeom prst="rect">
                <a:avLst/>
              </a:prstGeom>
            </p:spPr>
          </p:pic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6FFC7EF1-B084-402A-9F4A-DD2F53BA054F}"/>
                  </a:ext>
                </a:extLst>
              </p:cNvPr>
              <p:cNvSpPr txBox="1"/>
              <p:nvPr/>
            </p:nvSpPr>
            <p:spPr>
              <a:xfrm>
                <a:off x="353278" y="4884260"/>
                <a:ext cx="103587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Approved for Deployment</a:t>
                </a: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F10722B-B030-49A3-BEC2-60ED11F18B0C}"/>
                </a:ext>
              </a:extLst>
            </p:cNvPr>
            <p:cNvGrpSpPr/>
            <p:nvPr/>
          </p:nvGrpSpPr>
          <p:grpSpPr>
            <a:xfrm>
              <a:off x="6992462" y="1606105"/>
              <a:ext cx="841470" cy="1308047"/>
              <a:chOff x="1649625" y="4225504"/>
              <a:chExt cx="841470" cy="1308047"/>
            </a:xfrm>
          </p:grpSpPr>
          <p:pic>
            <p:nvPicPr>
              <p:cNvPr id="58" name="Graphic 57" descr="Clipboard Partially Crossed">
                <a:extLst>
                  <a:ext uri="{FF2B5EF4-FFF2-40B4-BE49-F238E27FC236}">
                    <a16:creationId xmlns:a16="http://schemas.microsoft.com/office/drawing/2014/main" id="{806616B7-E498-40E0-8169-69ECB04C01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/>
              <a:stretch/>
            </p:blipFill>
            <p:spPr>
              <a:xfrm>
                <a:off x="1709065" y="422550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5804D249-1E91-421A-BEF3-5434B0C256EC}"/>
                  </a:ext>
                </a:extLst>
              </p:cNvPr>
              <p:cNvSpPr txBox="1"/>
              <p:nvPr/>
            </p:nvSpPr>
            <p:spPr>
              <a:xfrm>
                <a:off x="1649625" y="4887220"/>
                <a:ext cx="84147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Additional Testing Required</a:t>
                </a: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28E6939-2605-4FE6-8C97-BD62CEAFC8FB}"/>
                </a:ext>
              </a:extLst>
            </p:cNvPr>
            <p:cNvGrpSpPr/>
            <p:nvPr/>
          </p:nvGrpSpPr>
          <p:grpSpPr>
            <a:xfrm>
              <a:off x="8212459" y="1631934"/>
              <a:ext cx="1054142" cy="1309179"/>
              <a:chOff x="2793107" y="4215481"/>
              <a:chExt cx="1054142" cy="1309179"/>
            </a:xfrm>
          </p:grpSpPr>
          <p:pic>
            <p:nvPicPr>
              <p:cNvPr id="61" name="Graphic 60" descr="Blog">
                <a:extLst>
                  <a:ext uri="{FF2B5EF4-FFF2-40B4-BE49-F238E27FC236}">
                    <a16:creationId xmlns:a16="http://schemas.microsoft.com/office/drawing/2014/main" id="{5A7527DC-7DF7-4D83-A49E-18F33380F6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/>
              <a:stretch/>
            </p:blipFill>
            <p:spPr>
              <a:xfrm>
                <a:off x="2917934" y="421548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515A2C29-909B-4212-B22C-F03407C816DD}"/>
                  </a:ext>
                </a:extLst>
              </p:cNvPr>
              <p:cNvSpPr txBox="1"/>
              <p:nvPr/>
            </p:nvSpPr>
            <p:spPr>
              <a:xfrm>
                <a:off x="2793107" y="4878329"/>
                <a:ext cx="105414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/>
                  <a:t>Additional Development</a:t>
                </a:r>
              </a:p>
              <a:p>
                <a:pPr algn="ctr"/>
                <a:r>
                  <a:rPr lang="en-US" sz="1200"/>
                  <a:t>Required</a:t>
                </a: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706D5A-B39E-410F-9C4B-A5E1374F8D99}"/>
              </a:ext>
            </a:extLst>
          </p:cNvPr>
          <p:cNvGrpSpPr/>
          <p:nvPr/>
        </p:nvGrpSpPr>
        <p:grpSpPr>
          <a:xfrm>
            <a:off x="571498" y="3533024"/>
            <a:ext cx="5310026" cy="2193950"/>
            <a:chOff x="571498" y="3533024"/>
            <a:chExt cx="5310026" cy="2193950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2DA9AA9-9D84-4C90-B54A-E39BF026020F}"/>
                </a:ext>
              </a:extLst>
            </p:cNvPr>
            <p:cNvGrpSpPr/>
            <p:nvPr/>
          </p:nvGrpSpPr>
          <p:grpSpPr>
            <a:xfrm>
              <a:off x="577208" y="3533024"/>
              <a:ext cx="5302411" cy="1568578"/>
              <a:chOff x="575304" y="4251378"/>
              <a:chExt cx="4796798" cy="1568578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8B2AD538-03B5-40DB-8420-A889C7A79F1C}"/>
                  </a:ext>
                </a:extLst>
              </p:cNvPr>
              <p:cNvSpPr/>
              <p:nvPr/>
            </p:nvSpPr>
            <p:spPr>
              <a:xfrm>
                <a:off x="575306" y="4251378"/>
                <a:ext cx="4796796" cy="33334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b="1"/>
                  <a:t>Sign Off</a:t>
                </a:r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7A1B1263-53D0-4A23-BBFF-DDA491D38919}"/>
                  </a:ext>
                </a:extLst>
              </p:cNvPr>
              <p:cNvGrpSpPr/>
              <p:nvPr/>
            </p:nvGrpSpPr>
            <p:grpSpPr>
              <a:xfrm>
                <a:off x="575304" y="4591777"/>
                <a:ext cx="4796797" cy="617414"/>
                <a:chOff x="575303" y="1762209"/>
                <a:chExt cx="2830337" cy="617414"/>
              </a:xfrm>
            </p:grpSpPr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D7BC6B08-4755-411F-B967-8DFCD71A79E7}"/>
                    </a:ext>
                  </a:extLst>
                </p:cNvPr>
                <p:cNvSpPr/>
                <p:nvPr/>
              </p:nvSpPr>
              <p:spPr>
                <a:xfrm>
                  <a:off x="575303" y="2046282"/>
                  <a:ext cx="2830337" cy="333341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sz="12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76D43952-0A6E-4C55-B520-49EBD23A60AC}"/>
                    </a:ext>
                  </a:extLst>
                </p:cNvPr>
                <p:cNvSpPr txBox="1"/>
                <p:nvPr/>
              </p:nvSpPr>
              <p:spPr>
                <a:xfrm>
                  <a:off x="575303" y="1762209"/>
                  <a:ext cx="2434597" cy="523220"/>
                </a:xfrm>
                <a:prstGeom prst="rect">
                  <a:avLst/>
                </a:prstGeom>
                <a:noFill/>
              </p:spPr>
              <p:txBody>
                <a:bodyPr wrap="square" lIns="0" rtlCol="0">
                  <a:spAutoFit/>
                </a:bodyPr>
                <a:lstStyle/>
                <a:p>
                  <a:r>
                    <a:rPr lang="en-US" sz="1400" b="1"/>
                    <a:t>Business Reviewer</a:t>
                  </a:r>
                </a:p>
                <a:p>
                  <a:endParaRPr lang="en-US" sz="1400" b="1"/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1148AECD-ED62-4509-B8A2-F36919306E78}"/>
                  </a:ext>
                </a:extLst>
              </p:cNvPr>
              <p:cNvGrpSpPr/>
              <p:nvPr/>
            </p:nvGrpSpPr>
            <p:grpSpPr>
              <a:xfrm>
                <a:off x="575304" y="5202542"/>
                <a:ext cx="4796797" cy="617414"/>
                <a:chOff x="575303" y="1762209"/>
                <a:chExt cx="2830337" cy="617414"/>
              </a:xfrm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E75EFE1C-CBCA-494B-BADB-B39F92C1CBC6}"/>
                    </a:ext>
                  </a:extLst>
                </p:cNvPr>
                <p:cNvSpPr/>
                <p:nvPr/>
              </p:nvSpPr>
              <p:spPr>
                <a:xfrm>
                  <a:off x="575303" y="2046282"/>
                  <a:ext cx="2830337" cy="333341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sz="12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CCB56D31-044C-499C-820F-41B7F1758B7D}"/>
                    </a:ext>
                  </a:extLst>
                </p:cNvPr>
                <p:cNvSpPr txBox="1"/>
                <p:nvPr/>
              </p:nvSpPr>
              <p:spPr>
                <a:xfrm>
                  <a:off x="575303" y="1762209"/>
                  <a:ext cx="2434597" cy="307777"/>
                </a:xfrm>
                <a:prstGeom prst="rect">
                  <a:avLst/>
                </a:prstGeom>
                <a:noFill/>
              </p:spPr>
              <p:txBody>
                <a:bodyPr wrap="square" lIns="0" rtlCol="0">
                  <a:spAutoFit/>
                </a:bodyPr>
                <a:lstStyle/>
                <a:p>
                  <a:r>
                    <a:rPr lang="en-US" sz="1400" b="1"/>
                    <a:t>IT Reviewer</a:t>
                  </a:r>
                </a:p>
              </p:txBody>
            </p:sp>
          </p:grp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C0F6A42-709D-4DA4-92C3-9B202DBE3D9F}"/>
                </a:ext>
              </a:extLst>
            </p:cNvPr>
            <p:cNvGrpSpPr/>
            <p:nvPr/>
          </p:nvGrpSpPr>
          <p:grpSpPr>
            <a:xfrm>
              <a:off x="571498" y="5109560"/>
              <a:ext cx="5310026" cy="617414"/>
              <a:chOff x="571498" y="5109560"/>
              <a:chExt cx="5310026" cy="617414"/>
            </a:xfrm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F17D68ED-BBBB-46A2-A541-1BA7D47D9F26}"/>
                  </a:ext>
                </a:extLst>
              </p:cNvPr>
              <p:cNvSpPr/>
              <p:nvPr/>
            </p:nvSpPr>
            <p:spPr>
              <a:xfrm>
                <a:off x="571498" y="5393633"/>
                <a:ext cx="5310026" cy="333341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0715FCF1-BDAE-42B5-AE6C-5159E5CAD805}"/>
                  </a:ext>
                </a:extLst>
              </p:cNvPr>
              <p:cNvSpPr txBox="1"/>
              <p:nvPr/>
            </p:nvSpPr>
            <p:spPr>
              <a:xfrm>
                <a:off x="571498" y="5109560"/>
                <a:ext cx="4126105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 dirty="0"/>
                  <a:t>Endorsement Date</a:t>
                </a:r>
              </a:p>
            </p:txBody>
          </p:sp>
        </p:grp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CEC13A15-D003-49E2-B80B-766B7181B374}"/>
              </a:ext>
            </a:extLst>
          </p:cNvPr>
          <p:cNvGrpSpPr/>
          <p:nvPr/>
        </p:nvGrpSpPr>
        <p:grpSpPr>
          <a:xfrm>
            <a:off x="575303" y="1366033"/>
            <a:ext cx="2520000" cy="617414"/>
            <a:chOff x="575303" y="1762209"/>
            <a:chExt cx="2830337" cy="617414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4D8B6D2-2EB3-4183-B292-A91205E46B7E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on Smith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7F8D69D-7491-4C8F-A991-599EC603A037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Developer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5D4E1F14-7EB3-476D-8C09-E34754F2CCFE}"/>
              </a:ext>
            </a:extLst>
          </p:cNvPr>
          <p:cNvGrpSpPr/>
          <p:nvPr/>
        </p:nvGrpSpPr>
        <p:grpSpPr>
          <a:xfrm>
            <a:off x="3361524" y="1366033"/>
            <a:ext cx="2520000" cy="617414"/>
            <a:chOff x="575303" y="1762209"/>
            <a:chExt cx="2830337" cy="617414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423C7C8-8EF2-4933-9D4A-988800F96783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on.Smith@RevealGroup.com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77863E2A-2423-443C-8BAB-2561FC739FF7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Email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01658058-DF5F-4F44-9903-00BCA853DDD9}"/>
              </a:ext>
            </a:extLst>
          </p:cNvPr>
          <p:cNvGrpSpPr/>
          <p:nvPr/>
        </p:nvGrpSpPr>
        <p:grpSpPr>
          <a:xfrm>
            <a:off x="573399" y="1982396"/>
            <a:ext cx="2520000" cy="617414"/>
            <a:chOff x="575303" y="1762209"/>
            <a:chExt cx="2830337" cy="617414"/>
          </a:xfrm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DF9C42C9-CF5A-4798-9A1F-217784ADF9BB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ane Smith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0A0A4E61-183F-4D4B-B7D5-B247C19F01DF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Functional Champion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BEE05C5-DAE6-4A18-9BBD-17C01D642931}"/>
              </a:ext>
            </a:extLst>
          </p:cNvPr>
          <p:cNvGrpSpPr/>
          <p:nvPr/>
        </p:nvGrpSpPr>
        <p:grpSpPr>
          <a:xfrm>
            <a:off x="3359620" y="1982396"/>
            <a:ext cx="2520000" cy="617414"/>
            <a:chOff x="575303" y="1762209"/>
            <a:chExt cx="2830337" cy="617414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332928F6-44E9-4DD9-82FA-64D8C340647D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ane.Smith@RevealGroup.com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2A13F66-A880-40C7-985D-8EBBEBD2F65B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Email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2902510-2DFA-4B55-9CCA-A25CA9FC2F0E}"/>
              </a:ext>
            </a:extLst>
          </p:cNvPr>
          <p:cNvGrpSpPr/>
          <p:nvPr/>
        </p:nvGrpSpPr>
        <p:grpSpPr>
          <a:xfrm>
            <a:off x="575308" y="2632932"/>
            <a:ext cx="2520000" cy="617414"/>
            <a:chOff x="575303" y="1762209"/>
            <a:chExt cx="2830337" cy="617414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9146E183-3C40-45CD-8F70-F77616D47B55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ason Smith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29E8508A-D702-4468-85D3-690357946144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Design Authority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E2F51BF-D9C4-4F75-BA8F-7D997B06FC4C}"/>
              </a:ext>
            </a:extLst>
          </p:cNvPr>
          <p:cNvGrpSpPr/>
          <p:nvPr/>
        </p:nvGrpSpPr>
        <p:grpSpPr>
          <a:xfrm>
            <a:off x="3361529" y="2632932"/>
            <a:ext cx="2520000" cy="617414"/>
            <a:chOff x="575303" y="1762209"/>
            <a:chExt cx="2830337" cy="617414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DC629CA3-F129-4E89-8420-B8961D8BE3DC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Jason.Smith@RevealGroup.com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B0E3CBC-AE0F-412E-9DA5-16314BE0B05F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Email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A4314757-64C8-4531-A6BF-78E814236F0B}"/>
              </a:ext>
            </a:extLst>
          </p:cNvPr>
          <p:cNvGrpSpPr/>
          <p:nvPr/>
        </p:nvGrpSpPr>
        <p:grpSpPr>
          <a:xfrm>
            <a:off x="6205694" y="5109560"/>
            <a:ext cx="2520000" cy="617414"/>
            <a:chOff x="575303" y="1762209"/>
            <a:chExt cx="1386617" cy="617414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6810A019-8073-439A-886D-B26B65162AD8}"/>
                </a:ext>
              </a:extLst>
            </p:cNvPr>
            <p:cNvSpPr/>
            <p:nvPr/>
          </p:nvSpPr>
          <p:spPr>
            <a:xfrm>
              <a:off x="575303" y="2046282"/>
              <a:ext cx="1386616" cy="3333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D0211424-B61D-4825-874A-3102E1498F96}"/>
                </a:ext>
              </a:extLst>
            </p:cNvPr>
            <p:cNvSpPr txBox="1"/>
            <p:nvPr/>
          </p:nvSpPr>
          <p:spPr>
            <a:xfrm>
              <a:off x="575304" y="1762209"/>
              <a:ext cx="1386616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Meeting Date</a:t>
              </a: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5106CA8-204C-487E-9C4A-C18C32DF118D}"/>
              </a:ext>
            </a:extLst>
          </p:cNvPr>
          <p:cNvGrpSpPr/>
          <p:nvPr/>
        </p:nvGrpSpPr>
        <p:grpSpPr>
          <a:xfrm>
            <a:off x="8960400" y="5109560"/>
            <a:ext cx="2520000" cy="617414"/>
            <a:chOff x="575303" y="1762209"/>
            <a:chExt cx="1386617" cy="617414"/>
          </a:xfrm>
        </p:grpSpPr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4E1A4FA-F475-432E-B7E1-25A88A93A7E9}"/>
                </a:ext>
              </a:extLst>
            </p:cNvPr>
            <p:cNvSpPr/>
            <p:nvPr/>
          </p:nvSpPr>
          <p:spPr>
            <a:xfrm>
              <a:off x="575303" y="2046282"/>
              <a:ext cx="1386616" cy="3333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DD8DCCB8-6AEC-4F42-BD51-71A0DD9725D9}"/>
                </a:ext>
              </a:extLst>
            </p:cNvPr>
            <p:cNvSpPr txBox="1"/>
            <p:nvPr/>
          </p:nvSpPr>
          <p:spPr>
            <a:xfrm>
              <a:off x="575304" y="1762209"/>
              <a:ext cx="1386616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Target Deployment Date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5160928-BD49-400A-A19A-F01DB86CDAC8}"/>
              </a:ext>
            </a:extLst>
          </p:cNvPr>
          <p:cNvGrpSpPr/>
          <p:nvPr/>
        </p:nvGrpSpPr>
        <p:grpSpPr>
          <a:xfrm>
            <a:off x="6777130" y="82628"/>
            <a:ext cx="4685197" cy="405433"/>
            <a:chOff x="4717420" y="4111150"/>
            <a:chExt cx="4685197" cy="405433"/>
          </a:xfrm>
        </p:grpSpPr>
        <p:sp>
          <p:nvSpPr>
            <p:cNvPr id="67" name="Pentagon 17">
              <a:extLst>
                <a:ext uri="{FF2B5EF4-FFF2-40B4-BE49-F238E27FC236}">
                  <a16:creationId xmlns:a16="http://schemas.microsoft.com/office/drawing/2014/main" id="{3AFC59E4-2163-412C-9DB3-9416EAFCB43D}"/>
                </a:ext>
              </a:extLst>
            </p:cNvPr>
            <p:cNvSpPr/>
            <p:nvPr/>
          </p:nvSpPr>
          <p:spPr>
            <a:xfrm>
              <a:off x="4717420" y="4112258"/>
              <a:ext cx="875215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  <a:latin typeface="+mj-lt"/>
                </a:rPr>
                <a:t>Submit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68" name="AutoShape 7">
              <a:extLst>
                <a:ext uri="{FF2B5EF4-FFF2-40B4-BE49-F238E27FC236}">
                  <a16:creationId xmlns:a16="http://schemas.microsoft.com/office/drawing/2014/main" id="{66040B8F-AF89-4D14-938D-E692F4DDA663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684149" y="4111150"/>
              <a:ext cx="958269" cy="380521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  <a:latin typeface="+mj-lt"/>
                </a:rPr>
                <a:t>α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69" name="Pentagon 17">
              <a:extLst>
                <a:ext uri="{FF2B5EF4-FFF2-40B4-BE49-F238E27FC236}">
                  <a16:creationId xmlns:a16="http://schemas.microsoft.com/office/drawing/2014/main" id="{B5DB4781-A08B-4702-95E3-EE0AF0E4AA90}"/>
                </a:ext>
              </a:extLst>
            </p:cNvPr>
            <p:cNvSpPr/>
            <p:nvPr/>
          </p:nvSpPr>
          <p:spPr>
            <a:xfrm>
              <a:off x="6622088" y="4112258"/>
              <a:ext cx="875841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</a:rPr>
                <a:t>Build &amp; Test</a:t>
              </a:r>
            </a:p>
          </p:txBody>
        </p:sp>
        <p:sp>
          <p:nvSpPr>
            <p:cNvPr id="70" name="AutoShape 7">
              <a:extLst>
                <a:ext uri="{FF2B5EF4-FFF2-40B4-BE49-F238E27FC236}">
                  <a16:creationId xmlns:a16="http://schemas.microsoft.com/office/drawing/2014/main" id="{0BF2A097-B5B4-42BC-89BF-14844245A00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91572" y="4111150"/>
              <a:ext cx="958269" cy="379618"/>
            </a:xfrm>
            <a:prstGeom prst="diamond">
              <a:avLst/>
            </a:prstGeom>
            <a:noFill/>
            <a:ln w="28575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chemeClr val="accent2"/>
                  </a:solidFill>
                </a:rPr>
                <a:t>β</a:t>
              </a:r>
              <a:endParaRPr lang="en-US" sz="1300" b="1" i="1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02" name="Pentagon 17">
              <a:extLst>
                <a:ext uri="{FF2B5EF4-FFF2-40B4-BE49-F238E27FC236}">
                  <a16:creationId xmlns:a16="http://schemas.microsoft.com/office/drawing/2014/main" id="{C981DBDB-7C6D-4682-9C46-4BA8A8B9EDB5}"/>
                </a:ext>
              </a:extLst>
            </p:cNvPr>
            <p:cNvSpPr/>
            <p:nvPr/>
          </p:nvSpPr>
          <p:spPr>
            <a:xfrm>
              <a:off x="8527402" y="4111151"/>
              <a:ext cx="875215" cy="405432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</a:rPr>
                <a:t>Sh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667808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7AEB20-BF3B-43B3-9213-FF45F4EA6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unication and How To Use: [Task Nam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0AE98F-DB5E-4B82-8D0F-DE8940A4E2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6FD261-09CF-4E68-A6A1-7AE5AC7DE050}"/>
              </a:ext>
            </a:extLst>
          </p:cNvPr>
          <p:cNvSpPr/>
          <p:nvPr/>
        </p:nvSpPr>
        <p:spPr>
          <a:xfrm>
            <a:off x="575303" y="1036800"/>
            <a:ext cx="5310000" cy="33334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Task Detail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BB42B05-2654-4B1D-8043-4594B8D5222F}"/>
              </a:ext>
            </a:extLst>
          </p:cNvPr>
          <p:cNvGrpSpPr/>
          <p:nvPr/>
        </p:nvGrpSpPr>
        <p:grpSpPr>
          <a:xfrm>
            <a:off x="575305" y="2625330"/>
            <a:ext cx="5310000" cy="1237934"/>
            <a:chOff x="575303" y="1762209"/>
            <a:chExt cx="2830338" cy="1237934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F58BB6F-18CE-445B-AE04-0E3F568592A5}"/>
                </a:ext>
              </a:extLst>
            </p:cNvPr>
            <p:cNvSpPr/>
            <p:nvPr/>
          </p:nvSpPr>
          <p:spPr>
            <a:xfrm>
              <a:off x="575303" y="2046282"/>
              <a:ext cx="2830338" cy="95386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C560B19-ADF6-469E-893A-82AA7CB4EFDB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Task Description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5BAD743-F7F2-4B79-B95F-B28173ABB9CB}"/>
              </a:ext>
            </a:extLst>
          </p:cNvPr>
          <p:cNvGrpSpPr/>
          <p:nvPr/>
        </p:nvGrpSpPr>
        <p:grpSpPr>
          <a:xfrm>
            <a:off x="6170401" y="2605559"/>
            <a:ext cx="5310000" cy="642576"/>
            <a:chOff x="575303" y="1762209"/>
            <a:chExt cx="2830337" cy="64257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9A4868C-211F-46E9-86E8-1241A123F0A1}"/>
                </a:ext>
              </a:extLst>
            </p:cNvPr>
            <p:cNvSpPr/>
            <p:nvPr/>
          </p:nvSpPr>
          <p:spPr>
            <a:xfrm>
              <a:off x="575303" y="2069985"/>
              <a:ext cx="2830337" cy="3348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N/A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9686924-88CC-447D-805D-845E19963FD6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Configurable Input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948D3A3-D7DB-48A9-A7CF-9FDE872470E9}"/>
              </a:ext>
            </a:extLst>
          </p:cNvPr>
          <p:cNvGrpSpPr/>
          <p:nvPr/>
        </p:nvGrpSpPr>
        <p:grpSpPr>
          <a:xfrm>
            <a:off x="6170400" y="1376327"/>
            <a:ext cx="5309997" cy="608642"/>
            <a:chOff x="575303" y="1762209"/>
            <a:chExt cx="2830337" cy="60864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3C1325D-8CB3-45FD-A0B9-9747CA7BE3A6}"/>
                </a:ext>
              </a:extLst>
            </p:cNvPr>
            <p:cNvSpPr/>
            <p:nvPr/>
          </p:nvSpPr>
          <p:spPr>
            <a:xfrm>
              <a:off x="575303" y="2037510"/>
              <a:ext cx="2830337" cy="33334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Transaction list saved in Excel</a:t>
              </a:r>
            </a:p>
            <a:p>
              <a:r>
                <a:rPr lang="en-US" sz="1200">
                  <a:solidFill>
                    <a:schemeClr val="tx1"/>
                  </a:solidFill>
                </a:rPr>
                <a:t>Oracle open and logged in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D3850E6-5F12-4744-8C3E-2B44C874A165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Prerequisite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7412F59-CE13-489F-96FF-30FCA49D587F}"/>
              </a:ext>
            </a:extLst>
          </p:cNvPr>
          <p:cNvGrpSpPr/>
          <p:nvPr/>
        </p:nvGrpSpPr>
        <p:grpSpPr>
          <a:xfrm>
            <a:off x="6170401" y="1984969"/>
            <a:ext cx="5310000" cy="617414"/>
            <a:chOff x="575303" y="1762209"/>
            <a:chExt cx="2926842" cy="617414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7E2FACC-8209-4B92-8BDD-709B106C2349}"/>
                </a:ext>
              </a:extLst>
            </p:cNvPr>
            <p:cNvSpPr/>
            <p:nvPr/>
          </p:nvSpPr>
          <p:spPr>
            <a:xfrm>
              <a:off x="575303" y="2046282"/>
              <a:ext cx="2926842" cy="33334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All transactions keyed into Oracle and results saved to original Excel transaction lis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86200B2-3589-451B-85B5-76CEC042B257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Outcome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27138C2-7ABB-447D-A846-A68390468243}"/>
              </a:ext>
            </a:extLst>
          </p:cNvPr>
          <p:cNvGrpSpPr/>
          <p:nvPr/>
        </p:nvGrpSpPr>
        <p:grpSpPr>
          <a:xfrm>
            <a:off x="573399" y="3863264"/>
            <a:ext cx="5310000" cy="617414"/>
            <a:chOff x="575303" y="1762209"/>
            <a:chExt cx="2830337" cy="617414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FBEF784-3233-41B6-B6F6-491460188101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Oracle, Microsoft Excel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87373E9-E26F-45AA-983D-456C4290795F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What applications are involved?</a:t>
              </a:r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609AE83C-5CDD-4F53-84A1-A88741F42251}"/>
              </a:ext>
            </a:extLst>
          </p:cNvPr>
          <p:cNvSpPr/>
          <p:nvPr/>
        </p:nvSpPr>
        <p:spPr>
          <a:xfrm>
            <a:off x="6170400" y="1036800"/>
            <a:ext cx="5310000" cy="33334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How to Us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CF4D37E-3CBB-4220-873D-AAEAB149DFB2}"/>
              </a:ext>
            </a:extLst>
          </p:cNvPr>
          <p:cNvGrpSpPr/>
          <p:nvPr/>
        </p:nvGrpSpPr>
        <p:grpSpPr>
          <a:xfrm>
            <a:off x="577205" y="4472369"/>
            <a:ext cx="4792992" cy="617414"/>
            <a:chOff x="529196" y="4472369"/>
            <a:chExt cx="4792992" cy="617414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BBCFAC9F-8468-4835-9FAB-143479B7CE89}"/>
                </a:ext>
              </a:extLst>
            </p:cNvPr>
            <p:cNvGrpSpPr/>
            <p:nvPr/>
          </p:nvGrpSpPr>
          <p:grpSpPr>
            <a:xfrm>
              <a:off x="529196" y="4472369"/>
              <a:ext cx="2258568" cy="617414"/>
              <a:chOff x="575303" y="1762209"/>
              <a:chExt cx="2830337" cy="617414"/>
            </a:xfrm>
          </p:grpSpPr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6AE81B87-9EBB-4EFF-951A-2D5EEC9D0BAF}"/>
                  </a:ext>
                </a:extLst>
              </p:cNvPr>
              <p:cNvSpPr/>
              <p:nvPr/>
            </p:nvSpPr>
            <p:spPr>
              <a:xfrm>
                <a:off x="575303" y="2046282"/>
                <a:ext cx="2830337" cy="33334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200">
                    <a:solidFill>
                      <a:schemeClr val="tx1"/>
                    </a:solidFill>
                  </a:rPr>
                  <a:t>Jon Smith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A7B707A0-680D-4C07-8B7B-80155C46E753}"/>
                  </a:ext>
                </a:extLst>
              </p:cNvPr>
              <p:cNvSpPr txBox="1"/>
              <p:nvPr/>
            </p:nvSpPr>
            <p:spPr>
              <a:xfrm>
                <a:off x="575303" y="1762209"/>
                <a:ext cx="2434597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/>
                  <a:t>Developed by</a:t>
                </a:r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1C3F4C16-8F9B-45E8-9380-3DF6B20EB7D3}"/>
                </a:ext>
              </a:extLst>
            </p:cNvPr>
            <p:cNvGrpSpPr/>
            <p:nvPr/>
          </p:nvGrpSpPr>
          <p:grpSpPr>
            <a:xfrm>
              <a:off x="3063620" y="4472369"/>
              <a:ext cx="2258568" cy="617414"/>
              <a:chOff x="575303" y="1762209"/>
              <a:chExt cx="2830337" cy="617414"/>
            </a:xfrm>
          </p:grpSpPr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7A19656E-49BC-4936-8FE7-87CB9F50A087}"/>
                  </a:ext>
                </a:extLst>
              </p:cNvPr>
              <p:cNvSpPr/>
              <p:nvPr/>
            </p:nvSpPr>
            <p:spPr>
              <a:xfrm>
                <a:off x="575303" y="2046282"/>
                <a:ext cx="2830337" cy="333341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200">
                    <a:solidFill>
                      <a:schemeClr val="tx1"/>
                    </a:solidFill>
                  </a:rPr>
                  <a:t>Jon.Smith@RevealGroup.com</a:t>
                </a: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8CC4941A-A1A8-40F8-8160-034EF883D4F7}"/>
                  </a:ext>
                </a:extLst>
              </p:cNvPr>
              <p:cNvSpPr txBox="1"/>
              <p:nvPr/>
            </p:nvSpPr>
            <p:spPr>
              <a:xfrm>
                <a:off x="575303" y="1762209"/>
                <a:ext cx="2434597" cy="307777"/>
              </a:xfrm>
              <a:prstGeom prst="rect">
                <a:avLst/>
              </a:prstGeom>
              <a:noFill/>
            </p:spPr>
            <p:txBody>
              <a:bodyPr wrap="square" lIns="0" rtlCol="0">
                <a:spAutoFit/>
              </a:bodyPr>
              <a:lstStyle/>
              <a:p>
                <a:r>
                  <a:rPr lang="en-US" sz="1400" b="1"/>
                  <a:t>Developer Email</a:t>
                </a:r>
              </a:p>
            </p:txBody>
          </p:sp>
        </p:grp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02EAA29-E956-4D94-9771-1BCEA6BCAFA4}"/>
              </a:ext>
            </a:extLst>
          </p:cNvPr>
          <p:cNvSpPr/>
          <p:nvPr/>
        </p:nvSpPr>
        <p:spPr>
          <a:xfrm>
            <a:off x="6168496" y="5201769"/>
            <a:ext cx="5310000" cy="3333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Support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F4358CE-8823-4086-9951-0BA455739ED0}"/>
              </a:ext>
            </a:extLst>
          </p:cNvPr>
          <p:cNvGrpSpPr/>
          <p:nvPr/>
        </p:nvGrpSpPr>
        <p:grpSpPr>
          <a:xfrm>
            <a:off x="6168496" y="5522213"/>
            <a:ext cx="2520000" cy="617414"/>
            <a:chOff x="575303" y="1762209"/>
            <a:chExt cx="2830337" cy="617414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A3C97601-A0CA-4FA9-B61B-9F7554BDBCED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RPA Support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25F99EBA-4BAD-41BA-8DFD-A35486F95D1F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Support Contact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9F658A40-9469-4F72-921D-E59B14072269}"/>
              </a:ext>
            </a:extLst>
          </p:cNvPr>
          <p:cNvGrpSpPr/>
          <p:nvPr/>
        </p:nvGrpSpPr>
        <p:grpSpPr>
          <a:xfrm>
            <a:off x="8958495" y="5522213"/>
            <a:ext cx="2520000" cy="617414"/>
            <a:chOff x="575303" y="1762209"/>
            <a:chExt cx="2944926" cy="617414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10388572-FC4B-490B-9D2C-6D8EA6933842}"/>
                </a:ext>
              </a:extLst>
            </p:cNvPr>
            <p:cNvSpPr/>
            <p:nvPr/>
          </p:nvSpPr>
          <p:spPr>
            <a:xfrm>
              <a:off x="575303" y="2046282"/>
              <a:ext cx="2944926" cy="33334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RPASupport@RevealGroup.com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6F249B73-F5DC-4848-A4CD-E7A26AD64A82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Support Email  / Phone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3FCE97D7-4672-467B-86A0-091E1CEF591D}"/>
              </a:ext>
            </a:extLst>
          </p:cNvPr>
          <p:cNvGrpSpPr/>
          <p:nvPr/>
        </p:nvGrpSpPr>
        <p:grpSpPr>
          <a:xfrm>
            <a:off x="6168495" y="3246306"/>
            <a:ext cx="5310000" cy="1855348"/>
            <a:chOff x="575303" y="1762209"/>
            <a:chExt cx="2830338" cy="1855348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493F4CD-E547-424F-A8F6-463A0314BE95}"/>
                </a:ext>
              </a:extLst>
            </p:cNvPr>
            <p:cNvSpPr/>
            <p:nvPr/>
          </p:nvSpPr>
          <p:spPr>
            <a:xfrm>
              <a:off x="575303" y="2046282"/>
              <a:ext cx="2830338" cy="1571275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>
                  <a:solidFill>
                    <a:schemeClr val="tx1"/>
                  </a:solidFill>
                </a:rPr>
                <a:t>Step by step instructions to use automation once installed in local robot tray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B532B48-9B65-465F-B57F-58F134F330FC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Instructions for use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5B30B7B-4572-4434-8F1F-6222DB9756FD}"/>
              </a:ext>
            </a:extLst>
          </p:cNvPr>
          <p:cNvGrpSpPr/>
          <p:nvPr/>
        </p:nvGrpSpPr>
        <p:grpSpPr>
          <a:xfrm>
            <a:off x="573399" y="1390857"/>
            <a:ext cx="5310000" cy="617414"/>
            <a:chOff x="575303" y="1762209"/>
            <a:chExt cx="2830337" cy="617414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5A13DCF-7533-4E69-8CAA-64D1AF911B4F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829ED01-0EDE-468A-904F-88D21ED46542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Process Name (as displayed in UiPath)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1F9F280-442A-4B23-807B-A7F6727AC605}"/>
              </a:ext>
            </a:extLst>
          </p:cNvPr>
          <p:cNvGrpSpPr/>
          <p:nvPr/>
        </p:nvGrpSpPr>
        <p:grpSpPr>
          <a:xfrm>
            <a:off x="573399" y="1975328"/>
            <a:ext cx="5310000" cy="617414"/>
            <a:chOff x="575303" y="1762209"/>
            <a:chExt cx="2830337" cy="61741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682BF01-56ED-46BB-8D1C-EEA9ED60873F}"/>
                </a:ext>
              </a:extLst>
            </p:cNvPr>
            <p:cNvSpPr/>
            <p:nvPr/>
          </p:nvSpPr>
          <p:spPr>
            <a:xfrm>
              <a:off x="575303" y="2046282"/>
              <a:ext cx="2830337" cy="33334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D53F2E4-D0E6-4E23-9DE4-969972C9DBEF}"/>
                </a:ext>
              </a:extLst>
            </p:cNvPr>
            <p:cNvSpPr txBox="1"/>
            <p:nvPr/>
          </p:nvSpPr>
          <p:spPr>
            <a:xfrm>
              <a:off x="575303" y="1762209"/>
              <a:ext cx="2434597" cy="30777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400" b="1"/>
                <a:t>Current Process Version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5F6285A-9489-4886-A5A1-ACA7CF996991}"/>
              </a:ext>
            </a:extLst>
          </p:cNvPr>
          <p:cNvGrpSpPr/>
          <p:nvPr/>
        </p:nvGrpSpPr>
        <p:grpSpPr>
          <a:xfrm>
            <a:off x="6777130" y="82628"/>
            <a:ext cx="4685197" cy="405433"/>
            <a:chOff x="4717420" y="4111150"/>
            <a:chExt cx="4685197" cy="405433"/>
          </a:xfrm>
        </p:grpSpPr>
        <p:sp>
          <p:nvSpPr>
            <p:cNvPr id="58" name="Pentagon 17">
              <a:extLst>
                <a:ext uri="{FF2B5EF4-FFF2-40B4-BE49-F238E27FC236}">
                  <a16:creationId xmlns:a16="http://schemas.microsoft.com/office/drawing/2014/main" id="{FA906474-3CB8-4A50-9009-EF17832F9DA6}"/>
                </a:ext>
              </a:extLst>
            </p:cNvPr>
            <p:cNvSpPr/>
            <p:nvPr/>
          </p:nvSpPr>
          <p:spPr>
            <a:xfrm>
              <a:off x="4717420" y="4112258"/>
              <a:ext cx="875215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  <a:latin typeface="+mj-lt"/>
                </a:rPr>
                <a:t>Submit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59" name="AutoShape 7">
              <a:extLst>
                <a:ext uri="{FF2B5EF4-FFF2-40B4-BE49-F238E27FC236}">
                  <a16:creationId xmlns:a16="http://schemas.microsoft.com/office/drawing/2014/main" id="{32E5343F-87C7-4107-BEEA-83B6A35D18D5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684149" y="4111150"/>
              <a:ext cx="958269" cy="380521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  <a:latin typeface="+mj-lt"/>
                </a:rPr>
                <a:t>α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60" name="Pentagon 17">
              <a:extLst>
                <a:ext uri="{FF2B5EF4-FFF2-40B4-BE49-F238E27FC236}">
                  <a16:creationId xmlns:a16="http://schemas.microsoft.com/office/drawing/2014/main" id="{CC0062C9-CCEA-4FAA-A5BD-5106709FE1D5}"/>
                </a:ext>
              </a:extLst>
            </p:cNvPr>
            <p:cNvSpPr/>
            <p:nvPr/>
          </p:nvSpPr>
          <p:spPr>
            <a:xfrm>
              <a:off x="6622088" y="4112258"/>
              <a:ext cx="875841" cy="379618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rgbClr val="D9D9D9"/>
                  </a:solidFill>
                </a:rPr>
                <a:t>Build &amp; Test</a:t>
              </a:r>
            </a:p>
          </p:txBody>
        </p:sp>
        <p:sp>
          <p:nvSpPr>
            <p:cNvPr id="61" name="AutoShape 7">
              <a:extLst>
                <a:ext uri="{FF2B5EF4-FFF2-40B4-BE49-F238E27FC236}">
                  <a16:creationId xmlns:a16="http://schemas.microsoft.com/office/drawing/2014/main" id="{781F5639-50C2-4E38-A714-1A4567911064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91572" y="4111150"/>
              <a:ext cx="958269" cy="379618"/>
            </a:xfrm>
            <a:prstGeom prst="diamond">
              <a:avLst/>
            </a:prstGeom>
            <a:noFill/>
            <a:ln w="28575" algn="ctr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l-GR" sz="1300" b="1" i="1" dirty="0">
                  <a:solidFill>
                    <a:srgbClr val="D9D9D9"/>
                  </a:solidFill>
                </a:rPr>
                <a:t>β</a:t>
              </a:r>
              <a:endParaRPr lang="en-US" sz="1300" b="1" i="1" dirty="0">
                <a:solidFill>
                  <a:srgbClr val="D9D9D9"/>
                </a:solidFill>
                <a:latin typeface="+mj-lt"/>
              </a:endParaRPr>
            </a:p>
          </p:txBody>
        </p:sp>
        <p:sp>
          <p:nvSpPr>
            <p:cNvPr id="62" name="Pentagon 17">
              <a:extLst>
                <a:ext uri="{FF2B5EF4-FFF2-40B4-BE49-F238E27FC236}">
                  <a16:creationId xmlns:a16="http://schemas.microsoft.com/office/drawing/2014/main" id="{75FACE08-AAEA-4A25-8104-BD9E115D673D}"/>
                </a:ext>
              </a:extLst>
            </p:cNvPr>
            <p:cNvSpPr/>
            <p:nvPr/>
          </p:nvSpPr>
          <p:spPr>
            <a:xfrm>
              <a:off x="8527402" y="4111151"/>
              <a:ext cx="875215" cy="405432"/>
            </a:xfrm>
            <a:prstGeom prst="chevron">
              <a:avLst>
                <a:gd name="adj" fmla="val 21136"/>
              </a:avLst>
            </a:prstGeom>
            <a:noFill/>
            <a:ln w="2857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en-US" sz="1300" b="1" dirty="0">
                  <a:solidFill>
                    <a:schemeClr val="tx2"/>
                  </a:solidFill>
                </a:rPr>
                <a:t>Sh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21975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3231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LiDIaTtEWSd7v8KmGPhg"/>
</p:tagLst>
</file>

<file path=ppt/theme/theme1.xml><?xml version="1.0" encoding="utf-8"?>
<a:theme xmlns:a="http://schemas.openxmlformats.org/drawingml/2006/main" name="Reveal Group Template Master 2019   -  Read-Only">
  <a:themeElements>
    <a:clrScheme name="Reveal Theme">
      <a:dk1>
        <a:srgbClr val="161617"/>
      </a:dk1>
      <a:lt1>
        <a:sysClr val="window" lastClr="FFFFFF"/>
      </a:lt1>
      <a:dk2>
        <a:srgbClr val="0084CC"/>
      </a:dk2>
      <a:lt2>
        <a:srgbClr val="68737A"/>
      </a:lt2>
      <a:accent1>
        <a:srgbClr val="1D9AD6"/>
      </a:accent1>
      <a:accent2>
        <a:srgbClr val="00B259"/>
      </a:accent2>
      <a:accent3>
        <a:srgbClr val="FDBA58"/>
      </a:accent3>
      <a:accent4>
        <a:srgbClr val="F06D19"/>
      </a:accent4>
      <a:accent5>
        <a:srgbClr val="ED4337"/>
      </a:accent5>
      <a:accent6>
        <a:srgbClr val="8963A1"/>
      </a:accent6>
      <a:hlink>
        <a:srgbClr val="0069A3"/>
      </a:hlink>
      <a:folHlink>
        <a:srgbClr val="8963A1"/>
      </a:folHlink>
    </a:clrScheme>
    <a:fontScheme name="Custom 2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veal Group Template Master 2019   -  Read-Only" id="{8F0DE6B8-D94F-47D3-919E-78947204D09A}" vid="{7E221579-93B5-40F5-AE62-AFFB225D963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F6C05D68418D4CA5B8C6AE928CE95F" ma:contentTypeVersion="8" ma:contentTypeDescription="Create a new document." ma:contentTypeScope="" ma:versionID="0b39293b2721b93fea092b7925cf4ca7">
  <xsd:schema xmlns:xsd="http://www.w3.org/2001/XMLSchema" xmlns:xs="http://www.w3.org/2001/XMLSchema" xmlns:p="http://schemas.microsoft.com/office/2006/metadata/properties" xmlns:ns2="b7782add-86b3-46a6-bcc1-27773685777f" targetNamespace="http://schemas.microsoft.com/office/2006/metadata/properties" ma:root="true" ma:fieldsID="a34ab85d9adc356b42cbbd77f7149bb8" ns2:_="">
    <xsd:import namespace="b7782add-86b3-46a6-bcc1-2777368577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782add-86b3-46a6-bcc1-2777368577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87E3FC-82D1-4155-B522-60459E8CF7E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9174EE7-82DD-4206-BA58-444C0FFA8A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782add-86b3-46a6-bcc1-2777368577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015C319-2D6A-40D1-88A9-D0774429246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veal Group Template Master 2019   -  Read-Only</Template>
  <TotalTime>156</TotalTime>
  <Words>613</Words>
  <Application>Microsoft Office PowerPoint</Application>
  <PresentationFormat>Widescreen</PresentationFormat>
  <Paragraphs>192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ourier New</vt:lpstr>
      <vt:lpstr>Franklin Gothic Book</vt:lpstr>
      <vt:lpstr>Franklin Gothic Demi</vt:lpstr>
      <vt:lpstr>Franklin Gothic Medium</vt:lpstr>
      <vt:lpstr>Reveal Group Template Master 2019   -  Read-Only</vt:lpstr>
      <vt:lpstr>Citizen Delivery Document</vt:lpstr>
      <vt:lpstr>Task Submission: [Task Name]</vt:lpstr>
      <vt:lpstr>Current State: [Task Name]</vt:lpstr>
      <vt:lpstr>Future State: [Task Name]</vt:lpstr>
      <vt:lpstr>Checkpoint α: [Task Name]</vt:lpstr>
      <vt:lpstr>Testing Approach: [Task Name]</vt:lpstr>
      <vt:lpstr>Checkpoint β: [Task Name]</vt:lpstr>
      <vt:lpstr>Communication and How To Use: [Task Name]</vt:lpstr>
      <vt:lpstr>PowerPoint Presentation</vt:lpstr>
      <vt:lpstr>Appendix A – Release Notes: [Task Name]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ie Fisher</dc:creator>
  <cp:lastModifiedBy>Enkel Doci</cp:lastModifiedBy>
  <cp:revision>8</cp:revision>
  <dcterms:created xsi:type="dcterms:W3CDTF">2020-06-04T16:27:38Z</dcterms:created>
  <dcterms:modified xsi:type="dcterms:W3CDTF">2020-12-01T19:4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BF6C05D68418D4CA5B8C6AE928CE95F</vt:lpwstr>
  </property>
</Properties>
</file>